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tags/tag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4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drawings/drawing3.xml" ContentType="application/vnd.openxmlformats-officedocument.drawingml.chartshapes+xml"/>
  <Override PartName="/ppt/notesSlides/notesSlide16.xml" ContentType="application/vnd.openxmlformats-officedocument.presentationml.notesSlide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drawings/drawing6.xml" ContentType="application/vnd.openxmlformats-officedocument.drawingml.chartshapes+xml"/>
  <Override PartName="/ppt/notesSlides/notesSlide17.xml" ContentType="application/vnd.openxmlformats-officedocument.presentationml.notesSlide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7.xml" ContentType="application/vnd.openxmlformats-officedocument.drawingml.chartshapes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8.xml" ContentType="application/vnd.openxmlformats-officedocument.drawingml.chartshapes+xml"/>
  <Override PartName="/ppt/notesSlides/notesSlide18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9.xml" ContentType="application/vnd.openxmlformats-officedocument.drawingml.chartshapes+xml"/>
  <Override PartName="/ppt/charts/chart1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0.xml" ContentType="application/vnd.openxmlformats-officedocument.drawingml.chartshapes+xml"/>
  <Override PartName="/ppt/notesSlides/notesSlide19.xml" ContentType="application/vnd.openxmlformats-officedocument.presentationml.notesSlide+xml"/>
  <Override PartName="/ppt/charts/chart11.xml" ContentType="application/vnd.openxmlformats-officedocument.drawingml.chart+xml"/>
  <Override PartName="/ppt/drawings/drawing11.xml" ContentType="application/vnd.openxmlformats-officedocument.drawingml.chartshapes+xml"/>
  <Override PartName="/ppt/charts/chart12.xml" ContentType="application/vnd.openxmlformats-officedocument.drawingml.chart+xml"/>
  <Override PartName="/ppt/drawings/drawing12.xml" ContentType="application/vnd.openxmlformats-officedocument.drawingml.chartshapes+xml"/>
  <Override PartName="/ppt/charts/chart13.xml" ContentType="application/vnd.openxmlformats-officedocument.drawingml.chart+xml"/>
  <Override PartName="/ppt/drawings/drawing13.xml" ContentType="application/vnd.openxmlformats-officedocument.drawingml.chartshapes+xml"/>
  <Override PartName="/ppt/charts/chart14.xml" ContentType="application/vnd.openxmlformats-officedocument.drawingml.chart+xml"/>
  <Override PartName="/ppt/drawings/drawing14.xml" ContentType="application/vnd.openxmlformats-officedocument.drawingml.chartshapes+xml"/>
  <Override PartName="/ppt/charts/chart15.xml" ContentType="application/vnd.openxmlformats-officedocument.drawingml.chart+xml"/>
  <Override PartName="/ppt/drawings/drawing15.xml" ContentType="application/vnd.openxmlformats-officedocument.drawingml.chartshapes+xml"/>
  <Override PartName="/ppt/notesSlides/notesSlide20.xml" ContentType="application/vnd.openxmlformats-officedocument.presentationml.notesSlide+xml"/>
  <Override PartName="/ppt/charts/chart1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4.xml" ContentType="application/vnd.openxmlformats-officedocument.themeOverride+xml"/>
  <Override PartName="/ppt/drawings/drawing16.xml" ContentType="application/vnd.openxmlformats-officedocument.drawingml.chartshapes+xml"/>
  <Override PartName="/ppt/notesSlides/notesSlide21.xml" ContentType="application/vnd.openxmlformats-officedocument.presentationml.notesSlide+xml"/>
  <Override PartName="/ppt/charts/chart17.xml" ContentType="application/vnd.openxmlformats-officedocument.drawingml.chart+xml"/>
  <Override PartName="/ppt/drawings/drawing17.xml" ContentType="application/vnd.openxmlformats-officedocument.drawingml.chartshapes+xml"/>
  <Override PartName="/ppt/charts/chart18.xml" ContentType="application/vnd.openxmlformats-officedocument.drawingml.chart+xml"/>
  <Override PartName="/ppt/drawings/drawing18.xml" ContentType="application/vnd.openxmlformats-officedocument.drawingml.chartshapes+xml"/>
  <Override PartName="/ppt/charts/chart19.xml" ContentType="application/vnd.openxmlformats-officedocument.drawingml.chart+xml"/>
  <Override PartName="/ppt/drawings/drawing19.xml" ContentType="application/vnd.openxmlformats-officedocument.drawingml.chartshapes+xml"/>
  <Override PartName="/ppt/notesSlides/notesSlide22.xml" ContentType="application/vnd.openxmlformats-officedocument.presentationml.notesSlide+xml"/>
  <Override PartName="/ppt/charts/chart20.xml" ContentType="application/vnd.openxmlformats-officedocument.drawingml.chart+xml"/>
  <Override PartName="/ppt/drawings/drawing20.xml" ContentType="application/vnd.openxmlformats-officedocument.drawingml.chartshapes+xml"/>
  <Override PartName="/ppt/charts/chart21.xml" ContentType="application/vnd.openxmlformats-officedocument.drawingml.chart+xml"/>
  <Override PartName="/ppt/drawings/drawing21.xml" ContentType="application/vnd.openxmlformats-officedocument.drawingml.chartshapes+xml"/>
  <Override PartName="/ppt/charts/chart22.xml" ContentType="application/vnd.openxmlformats-officedocument.drawingml.chart+xml"/>
  <Override PartName="/ppt/drawings/drawing22.xml" ContentType="application/vnd.openxmlformats-officedocument.drawingml.chartshapes+xml"/>
  <Override PartName="/ppt/charts/chart23.xml" ContentType="application/vnd.openxmlformats-officedocument.drawingml.chart+xml"/>
  <Override PartName="/ppt/drawings/drawing23.xml" ContentType="application/vnd.openxmlformats-officedocument.drawingml.chartshapes+xml"/>
  <Override PartName="/ppt/notesSlides/notesSlide23.xml" ContentType="application/vnd.openxmlformats-officedocument.presentationml.notesSlide+xml"/>
  <Override PartName="/ppt/charts/chart24.xml" ContentType="application/vnd.openxmlformats-officedocument.drawingml.chart+xml"/>
  <Override PartName="/ppt/drawings/drawing24.xml" ContentType="application/vnd.openxmlformats-officedocument.drawingml.chartshapes+xml"/>
  <Override PartName="/ppt/charts/chart25.xml" ContentType="application/vnd.openxmlformats-officedocument.drawingml.chart+xml"/>
  <Override PartName="/ppt/drawings/drawing25.xml" ContentType="application/vnd.openxmlformats-officedocument.drawingml.chartshapes+xml"/>
  <Override PartName="/ppt/notesSlides/notesSlide24.xml" ContentType="application/vnd.openxmlformats-officedocument.presentationml.notesSlide+xml"/>
  <Override PartName="/ppt/charts/chart26.xml" ContentType="application/vnd.openxmlformats-officedocument.drawingml.chart+xml"/>
  <Override PartName="/ppt/drawings/drawing26.xml" ContentType="application/vnd.openxmlformats-officedocument.drawingml.chartshapes+xml"/>
  <Override PartName="/ppt/charts/chart27.xml" ContentType="application/vnd.openxmlformats-officedocument.drawingml.chart+xml"/>
  <Override PartName="/ppt/drawings/drawing27.xml" ContentType="application/vnd.openxmlformats-officedocument.drawingml.chartshapes+xml"/>
  <Override PartName="/ppt/tags/tag5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28.xml" ContentType="application/vnd.openxmlformats-officedocument.drawingml.chartshapes+xml"/>
  <Override PartName="/ppt/charts/chart2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29.xml" ContentType="application/vnd.openxmlformats-officedocument.drawingml.chartshape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276" r:id="rId2"/>
    <p:sldId id="275" r:id="rId3"/>
    <p:sldId id="259" r:id="rId4"/>
    <p:sldId id="283" r:id="rId5"/>
    <p:sldId id="279" r:id="rId6"/>
    <p:sldId id="287" r:id="rId7"/>
    <p:sldId id="289" r:id="rId8"/>
    <p:sldId id="286" r:id="rId9"/>
    <p:sldId id="315" r:id="rId10"/>
    <p:sldId id="290" r:id="rId11"/>
    <p:sldId id="288" r:id="rId12"/>
    <p:sldId id="293" r:id="rId13"/>
    <p:sldId id="291" r:id="rId14"/>
    <p:sldId id="292" r:id="rId15"/>
    <p:sldId id="314" r:id="rId16"/>
    <p:sldId id="295" r:id="rId17"/>
    <p:sldId id="300" r:id="rId18"/>
    <p:sldId id="302" r:id="rId19"/>
    <p:sldId id="316" r:id="rId20"/>
    <p:sldId id="317" r:id="rId21"/>
    <p:sldId id="301" r:id="rId22"/>
    <p:sldId id="299" r:id="rId23"/>
    <p:sldId id="303" r:id="rId24"/>
    <p:sldId id="307" r:id="rId25"/>
    <p:sldId id="306" r:id="rId26"/>
    <p:sldId id="305" r:id="rId27"/>
    <p:sldId id="296" r:id="rId28"/>
    <p:sldId id="318" r:id="rId29"/>
    <p:sldId id="308" r:id="rId30"/>
    <p:sldId id="311" r:id="rId31"/>
  </p:sldIdLst>
  <p:sldSz cx="9144000" cy="6858000" type="screen4x3"/>
  <p:notesSz cx="7099300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FF7C80"/>
    <a:srgbClr val="FF99FF"/>
    <a:srgbClr val="CC66FF"/>
    <a:srgbClr val="66CCFF"/>
    <a:srgbClr val="CC00FF"/>
    <a:srgbClr val="FF0066"/>
    <a:srgbClr val="6699FF"/>
    <a:srgbClr val="FF9999"/>
    <a:srgbClr val="66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Μεσαίο στυλ 2 - Έμφαση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Μεσαίο στυλ 1 - Έμφαση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Μεσαίο στυλ 3 - Έμφαση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Μεσαίο στυλ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Μεσαίο στυλ 3 - Έμφαση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Μεσαίο στυλ 3 - Έμφαση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Μεσαίο στυλ 3 - Έμφαση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Μεσαίο στυλ 3 - Έμφαση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74" autoAdjust="0"/>
    <p:restoredTop sz="90411" autoAdjust="0"/>
  </p:normalViewPr>
  <p:slideViewPr>
    <p:cSldViewPr>
      <p:cViewPr varScale="1">
        <p:scale>
          <a:sx n="78" d="100"/>
          <a:sy n="78" d="100"/>
        </p:scale>
        <p:origin x="1594" y="6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270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230"/>
    </p:cViewPr>
  </p:sorterViewPr>
  <p:notesViewPr>
    <p:cSldViewPr>
      <p:cViewPr varScale="1">
        <p:scale>
          <a:sx n="59" d="100"/>
          <a:sy n="59" d="100"/>
        </p:scale>
        <p:origin x="3254" y="6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ser\Desktop\&#917;&#926;&#913;&#924;&#919;&#925;&#927;%2010%20-%20&#916;&#953;&#960;&#955;&#969;&#956;&#945;&#964;&#953;&#954;&#942;\!!%20&#932;&#917;&#923;&#921;&#922;&#913;\5%20&#931;&#965;&#957;&#959;&#955;&#953;&#954;&#940;%20&#913;&#960;&#959;&#964;&#949;&#955;&#941;&#963;&#956;&#945;&#964;&#945;\&#913;&#960;&#959;&#964;&#949;&#955;&#941;&#963;&#956;&#945;&#964;&#945;%20&#917;&#924;&#933;\&#931;&#973;&#947;&#954;&#961;&#953;&#963;&#951;%20&#960;&#961;&#959;&#947;&#957;&#974;&#963;&#949;&#969;&#957;%20-%20&#956;&#949;&#964;&#961;&#942;&#963;&#949;&#969;&#957;.xlsx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package" Target="../embeddings/Microsoft_Excel_Worksheet6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package" Target="../embeddings/Microsoft_Excel_Worksheet7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3.xml"/><Relationship Id="rId1" Type="http://schemas.openxmlformats.org/officeDocument/2006/relationships/package" Target="../embeddings/Microsoft_Excel_Worksheet8.xlsx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4.xml"/><Relationship Id="rId1" Type="http://schemas.openxmlformats.org/officeDocument/2006/relationships/package" Target="../embeddings/Microsoft_Excel_Worksheet9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5.xml"/><Relationship Id="rId1" Type="http://schemas.openxmlformats.org/officeDocument/2006/relationships/package" Target="../embeddings/Microsoft_Excel_Worksheet10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5.xml"/><Relationship Id="rId1" Type="http://schemas.microsoft.com/office/2011/relationships/chartStyle" Target="style5.xml"/><Relationship Id="rId5" Type="http://schemas.openxmlformats.org/officeDocument/2006/relationships/chartUserShapes" Target="../drawings/drawing16.xml"/><Relationship Id="rId4" Type="http://schemas.openxmlformats.org/officeDocument/2006/relationships/package" Target="../embeddings/Microsoft_Excel_Worksheet11.xlsx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7.xml"/><Relationship Id="rId1" Type="http://schemas.openxmlformats.org/officeDocument/2006/relationships/package" Target="../embeddings/Microsoft_Excel_Worksheet12.xlsx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8.xml"/><Relationship Id="rId1" Type="http://schemas.openxmlformats.org/officeDocument/2006/relationships/package" Target="../embeddings/Microsoft_Excel_Worksheet13.xlsx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9.xml"/><Relationship Id="rId1" Type="http://schemas.openxmlformats.org/officeDocument/2006/relationships/package" Target="../embeddings/Microsoft_Excel_Worksheet14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0.xml"/><Relationship Id="rId1" Type="http://schemas.openxmlformats.org/officeDocument/2006/relationships/package" Target="../embeddings/Microsoft_Excel_Worksheet15.xlsx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1.xml"/><Relationship Id="rId1" Type="http://schemas.openxmlformats.org/officeDocument/2006/relationships/package" Target="../embeddings/Microsoft_Excel_Worksheet16.xlsx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2.xml"/><Relationship Id="rId1" Type="http://schemas.openxmlformats.org/officeDocument/2006/relationships/package" Target="../embeddings/Microsoft_Excel_Worksheet17.xlsx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3.xml"/><Relationship Id="rId1" Type="http://schemas.openxmlformats.org/officeDocument/2006/relationships/package" Target="../embeddings/Microsoft_Excel_Worksheet18.xlsx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4.xml"/><Relationship Id="rId1" Type="http://schemas.openxmlformats.org/officeDocument/2006/relationships/package" Target="../embeddings/Microsoft_Excel_Worksheet19.xlsx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5.xml"/><Relationship Id="rId1" Type="http://schemas.openxmlformats.org/officeDocument/2006/relationships/package" Target="../embeddings/Microsoft_Excel_Worksheet20.xlsx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6.xml"/><Relationship Id="rId1" Type="http://schemas.openxmlformats.org/officeDocument/2006/relationships/package" Target="../embeddings/Microsoft_Excel_Worksheet21.xlsx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7.xml"/><Relationship Id="rId1" Type="http://schemas.openxmlformats.org/officeDocument/2006/relationships/package" Target="../embeddings/Microsoft_Excel_Worksheet22.xlsx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ser\Desktop\&#917;&#926;&#913;&#924;&#919;&#925;&#927;%2010%20-%20&#916;&#953;&#960;&#955;&#969;&#956;&#945;&#964;&#953;&#954;&#942;\!!%20&#932;&#917;&#923;&#921;&#922;&#913;\5%20&#931;&#965;&#957;&#959;&#955;&#953;&#954;&#940;%20&#913;&#960;&#959;&#964;&#949;&#955;&#941;&#963;&#956;&#945;&#964;&#945;\&#913;&#960;&#959;&#964;&#949;&#955;&#941;&#963;&#956;&#945;&#964;&#945;%20&#917;&#924;&#933;\&#931;&#973;&#947;&#954;&#961;&#953;&#963;&#951;%20&#960;&#961;&#959;&#947;&#957;&#974;&#963;&#949;&#969;&#957;%20-%20&#956;&#949;&#964;&#961;&#942;&#963;&#949;&#969;&#957;.xlsx" TargetMode="Externa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ser\Desktop\&#917;&#926;&#913;&#924;&#919;&#925;&#927;%2010%20-%20&#916;&#953;&#960;&#955;&#969;&#956;&#945;&#964;&#953;&#954;&#942;\!!%20&#932;&#917;&#923;&#921;&#922;&#913;\5%20&#931;&#965;&#957;&#959;&#955;&#953;&#954;&#940;%20&#913;&#960;&#959;&#964;&#949;&#955;&#941;&#963;&#956;&#945;&#964;&#945;\&#913;&#960;&#959;&#964;&#949;&#955;&#941;&#963;&#956;&#945;&#964;&#945;%20&#917;&#924;&#933;\&#931;&#973;&#947;&#954;&#961;&#953;&#963;&#951;%20&#960;&#961;&#959;&#947;&#957;&#974;&#963;&#949;&#969;&#957;%20-%20&#956;&#949;&#964;&#961;&#942;&#963;&#949;&#969;&#957;.xlsx" TargetMode="Externa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ser\Desktop\&#917;&#926;&#913;&#924;&#919;&#925;&#927;%2010%20-%20&#916;&#953;&#960;&#955;&#969;&#956;&#945;&#964;&#953;&#954;&#942;\!!%20&#932;&#917;&#923;&#921;&#922;&#913;\5%20&#931;&#965;&#957;&#959;&#955;&#953;&#954;&#940;%20&#913;&#960;&#959;&#964;&#949;&#955;&#941;&#963;&#956;&#945;&#964;&#945;\&#913;&#960;&#959;&#964;&#949;&#955;&#941;&#963;&#956;&#945;&#964;&#945;%20&#917;&#924;&#933;\&#931;&#973;&#947;&#954;&#961;&#953;&#963;&#951;%20&#960;&#961;&#959;&#947;&#957;&#974;&#963;&#949;&#969;&#957;%20-%20&#956;&#949;&#964;&#961;&#942;&#963;&#949;&#969;&#957;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ser\Desktop\&#917;&#926;&#913;&#924;&#919;&#925;&#927;%2010%20-%20&#916;&#953;&#960;&#955;&#969;&#956;&#945;&#964;&#953;&#954;&#942;\!!%20&#932;&#917;&#923;&#921;&#922;&#913;\5%20&#931;&#965;&#957;&#959;&#955;&#953;&#954;&#940;%20&#913;&#960;&#959;&#964;&#949;&#955;&#941;&#963;&#956;&#945;&#964;&#945;\&#913;&#960;&#959;&#964;&#949;&#955;&#941;&#963;&#956;&#945;&#964;&#945;%20&#917;&#924;&#933;\&#931;&#973;&#947;&#954;&#961;&#953;&#963;&#951;%20&#960;&#961;&#959;&#947;&#957;&#974;&#963;&#949;&#969;&#957;%20-%20&#956;&#949;&#964;&#961;&#942;&#963;&#949;&#969;&#957;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ser\Desktop\&#917;&#926;&#913;&#924;&#919;&#925;&#927;%2010%20-%20&#916;&#953;&#960;&#955;&#969;&#956;&#945;&#964;&#953;&#954;&#942;\!!%20&#932;&#917;&#923;&#921;&#922;&#913;\5%20&#931;&#965;&#957;&#959;&#955;&#953;&#954;&#940;%20&#913;&#960;&#959;&#964;&#949;&#955;&#941;&#963;&#956;&#945;&#964;&#945;\&#913;&#960;&#959;&#964;&#949;&#955;&#941;&#963;&#956;&#945;&#964;&#945;%20&#917;&#924;&#933;\&#931;&#973;&#947;&#954;&#961;&#953;&#963;&#951;%20&#960;&#961;&#959;&#947;&#957;&#974;&#963;&#949;&#969;&#957;%20-%20&#956;&#949;&#964;&#961;&#942;&#963;&#949;&#969;&#957;.xlsx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015989955018118E-2"/>
          <c:y val="1.5089030586462592E-2"/>
          <c:w val="0.87458272158409933"/>
          <c:h val="0.77314060217385461"/>
        </c:manualLayout>
      </c:layout>
      <c:scatterChart>
        <c:scatterStyle val="lineMarker"/>
        <c:varyColors val="0"/>
        <c:ser>
          <c:idx val="0"/>
          <c:order val="0"/>
          <c:tx>
            <c:strRef>
              <c:f>temperature!$Q$2</c:f>
              <c:strCache>
                <c:ptCount val="1"/>
                <c:pt idx="0">
                  <c:v>Β1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xVal>
            <c:numRef>
              <c:f>temperature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temperature!$R$2:$Y$2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B21-4B37-8AED-77394EF28297}"/>
            </c:ext>
          </c:extLst>
        </c:ser>
        <c:ser>
          <c:idx val="1"/>
          <c:order val="1"/>
          <c:tx>
            <c:strRef>
              <c:f>temperature!$Q$3</c:f>
              <c:strCache>
                <c:ptCount val="1"/>
                <c:pt idx="0">
                  <c:v>Β2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xVal>
            <c:numRef>
              <c:f>temperature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temperature!$R$3:$Y$3</c:f>
              <c:numCache>
                <c:formatCode>General</c:formatCode>
                <c:ptCount val="8"/>
                <c:pt idx="0">
                  <c:v>0.81251338888334268</c:v>
                </c:pt>
                <c:pt idx="1">
                  <c:v>0.65121269826966555</c:v>
                </c:pt>
                <c:pt idx="2">
                  <c:v>0.53100896781032536</c:v>
                </c:pt>
                <c:pt idx="3">
                  <c:v>0.45715816633517531</c:v>
                </c:pt>
                <c:pt idx="4">
                  <c:v>0.41990681144800512</c:v>
                </c:pt>
                <c:pt idx="5">
                  <c:v>0.40778566507186403</c:v>
                </c:pt>
                <c:pt idx="6">
                  <c:v>0.40172601556777282</c:v>
                </c:pt>
                <c:pt idx="7">
                  <c:v>0.371982875348455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8B21-4B37-8AED-77394EF28297}"/>
            </c:ext>
          </c:extLst>
        </c:ser>
        <c:ser>
          <c:idx val="2"/>
          <c:order val="2"/>
          <c:tx>
            <c:strRef>
              <c:f>temperature!$Q$4</c:f>
              <c:strCache>
                <c:ptCount val="1"/>
                <c:pt idx="0">
                  <c:v>ΣΜ1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xVal>
            <c:numRef>
              <c:f>temperature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temperature!$R$4:$Y$4</c:f>
              <c:numCache>
                <c:formatCode>General</c:formatCode>
                <c:ptCount val="8"/>
                <c:pt idx="0">
                  <c:v>0.82130765478724621</c:v>
                </c:pt>
                <c:pt idx="1">
                  <c:v>0.68164591455865231</c:v>
                </c:pt>
                <c:pt idx="2">
                  <c:v>0.58603287423554851</c:v>
                </c:pt>
                <c:pt idx="3">
                  <c:v>0.53087799348293796</c:v>
                </c:pt>
                <c:pt idx="4">
                  <c:v>0.50409341871798852</c:v>
                </c:pt>
                <c:pt idx="5">
                  <c:v>0.4955343952204555</c:v>
                </c:pt>
                <c:pt idx="6">
                  <c:v>0.49128426400110831</c:v>
                </c:pt>
                <c:pt idx="7">
                  <c:v>0.47065850959324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8B21-4B37-8AED-77394EF28297}"/>
            </c:ext>
          </c:extLst>
        </c:ser>
        <c:ser>
          <c:idx val="3"/>
          <c:order val="3"/>
          <c:tx>
            <c:strRef>
              <c:f>temperature!$Q$5</c:f>
              <c:strCache>
                <c:ptCount val="1"/>
                <c:pt idx="0">
                  <c:v>ΣΜ10</c:v>
                </c:pt>
              </c:strCache>
            </c:strRef>
          </c:tx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x"/>
            <c:size val="6"/>
            <c:spPr>
              <a:noFill/>
              <a:ln w="9525">
                <a:solidFill>
                  <a:schemeClr val="accent4"/>
                </a:solidFill>
                <a:round/>
              </a:ln>
              <a:effectLst/>
            </c:spPr>
          </c:marker>
          <c:xVal>
            <c:numRef>
              <c:f>temperature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temperature!$R$5:$Y$5</c:f>
              <c:numCache>
                <c:formatCode>General</c:formatCode>
                <c:ptCount val="8"/>
                <c:pt idx="0">
                  <c:v>0.82971359546785106</c:v>
                </c:pt>
                <c:pt idx="1">
                  <c:v>0.70982389859407935</c:v>
                </c:pt>
                <c:pt idx="2">
                  <c:v>0.63390123107755236</c:v>
                </c:pt>
                <c:pt idx="3">
                  <c:v>0.58768257107151356</c:v>
                </c:pt>
                <c:pt idx="4">
                  <c:v>0.55647578156888511</c:v>
                </c:pt>
                <c:pt idx="5">
                  <c:v>0.53212204373788041</c:v>
                </c:pt>
                <c:pt idx="6">
                  <c:v>0.50769074803051084</c:v>
                </c:pt>
                <c:pt idx="7">
                  <c:v>0.4740314663681440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8B21-4B37-8AED-77394EF28297}"/>
            </c:ext>
          </c:extLst>
        </c:ser>
        <c:ser>
          <c:idx val="4"/>
          <c:order val="4"/>
          <c:tx>
            <c:strRef>
              <c:f>temperature!$Q$6</c:f>
              <c:strCache>
                <c:ptCount val="1"/>
                <c:pt idx="0">
                  <c:v>ΣΜ24</c:v>
                </c:pt>
              </c:strCache>
            </c:strRef>
          </c:tx>
          <c:spPr>
            <a:ln w="22225" cap="rnd">
              <a:solidFill>
                <a:schemeClr val="accent5"/>
              </a:solidFill>
              <a:round/>
            </a:ln>
            <a:effectLst/>
          </c:spPr>
          <c:marker>
            <c:symbol val="star"/>
            <c:size val="6"/>
            <c:spPr>
              <a:noFill/>
              <a:ln w="9525">
                <a:solidFill>
                  <a:schemeClr val="accent5"/>
                </a:solidFill>
                <a:round/>
              </a:ln>
              <a:effectLst/>
            </c:spPr>
          </c:marker>
          <c:xVal>
            <c:numRef>
              <c:f>temperature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temperature!$R$6:$Y$6</c:f>
              <c:numCache>
                <c:formatCode>General</c:formatCode>
                <c:ptCount val="8"/>
                <c:pt idx="0">
                  <c:v>0.82973261331010795</c:v>
                </c:pt>
                <c:pt idx="1">
                  <c:v>0.70994934246826891</c:v>
                </c:pt>
                <c:pt idx="2">
                  <c:v>0.63419001795120011</c:v>
                </c:pt>
                <c:pt idx="3">
                  <c:v>0.58808248061076296</c:v>
                </c:pt>
                <c:pt idx="4">
                  <c:v>0.55696402399203349</c:v>
                </c:pt>
                <c:pt idx="5">
                  <c:v>0.53269052687596141</c:v>
                </c:pt>
                <c:pt idx="6">
                  <c:v>0.50832016929215296</c:v>
                </c:pt>
                <c:pt idx="7">
                  <c:v>0.474777570583077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8B21-4B37-8AED-77394EF28297}"/>
            </c:ext>
          </c:extLst>
        </c:ser>
        <c:ser>
          <c:idx val="5"/>
          <c:order val="5"/>
          <c:tx>
            <c:strRef>
              <c:f>temperature!$Q$7</c:f>
              <c:strCache>
                <c:ptCount val="1"/>
                <c:pt idx="0">
                  <c:v>ΑΜ</c:v>
                </c:pt>
              </c:strCache>
            </c:strRef>
          </c:tx>
          <c:spPr>
            <a:ln w="2222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</a:ln>
              <a:effectLst/>
            </c:spPr>
          </c:marker>
          <c:xVal>
            <c:numRef>
              <c:f>temperature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temperature!$R$7:$Y$7</c:f>
              <c:numCache>
                <c:formatCode>General</c:formatCode>
                <c:ptCount val="8"/>
                <c:pt idx="0">
                  <c:v>0.87153398487796052</c:v>
                </c:pt>
                <c:pt idx="1">
                  <c:v>0.71696994153202021</c:v>
                </c:pt>
                <c:pt idx="2">
                  <c:v>0.61362031916925464</c:v>
                </c:pt>
                <c:pt idx="3">
                  <c:v>0.56026269099248249</c:v>
                </c:pt>
                <c:pt idx="4">
                  <c:v>0.52466618766894157</c:v>
                </c:pt>
                <c:pt idx="5">
                  <c:v>0.49292291653298292</c:v>
                </c:pt>
                <c:pt idx="6">
                  <c:v>0.46865973786131176</c:v>
                </c:pt>
                <c:pt idx="7">
                  <c:v>0.4411922482783166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8B21-4B37-8AED-77394EF28297}"/>
            </c:ext>
          </c:extLst>
        </c:ser>
        <c:ser>
          <c:idx val="6"/>
          <c:order val="6"/>
          <c:tx>
            <c:strRef>
              <c:f>temperature!$Q$8</c:f>
              <c:strCache>
                <c:ptCount val="1"/>
                <c:pt idx="0">
                  <c:v>ΜΠ</c:v>
                </c:pt>
              </c:strCache>
            </c:strRef>
          </c:tx>
          <c:spPr>
            <a:ln w="222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plus"/>
            <c:size val="6"/>
            <c:spPr>
              <a:noFill/>
              <a:ln w="9525">
                <a:solidFill>
                  <a:schemeClr val="accent1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temperature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temperature!$R$8:$Y$8</c:f>
              <c:numCache>
                <c:formatCode>0.000</c:formatCode>
                <c:ptCount val="8"/>
                <c:pt idx="0">
                  <c:v>0.63641213702140287</c:v>
                </c:pt>
                <c:pt idx="1">
                  <c:v>0.73512940446727515</c:v>
                </c:pt>
                <c:pt idx="2">
                  <c:v>0.7193625708940995</c:v>
                </c:pt>
                <c:pt idx="3">
                  <c:v>0.6485698139100151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8B21-4B37-8AED-77394EF28297}"/>
            </c:ext>
          </c:extLst>
        </c:ser>
        <c:ser>
          <c:idx val="7"/>
          <c:order val="7"/>
          <c:tx>
            <c:strRef>
              <c:f>temperature!$Q$9</c:f>
              <c:strCache>
                <c:ptCount val="1"/>
                <c:pt idx="0">
                  <c:v>ΣΠΜ1</c:v>
                </c:pt>
              </c:strCache>
            </c:strRef>
          </c:tx>
          <c:spPr>
            <a:ln w="222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dot"/>
            <c:size val="6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temperature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temperature!$R$9:$Y$9</c:f>
              <c:numCache>
                <c:formatCode>0.000</c:formatCode>
                <c:ptCount val="8"/>
                <c:pt idx="0">
                  <c:v>0.86814190860585216</c:v>
                </c:pt>
                <c:pt idx="1">
                  <c:v>0.84416383493486269</c:v>
                </c:pt>
                <c:pt idx="2">
                  <c:v>0.77229919814448755</c:v>
                </c:pt>
                <c:pt idx="3">
                  <c:v>0.702374139609768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8B21-4B37-8AED-77394EF28297}"/>
            </c:ext>
          </c:extLst>
        </c:ser>
        <c:ser>
          <c:idx val="8"/>
          <c:order val="8"/>
          <c:tx>
            <c:strRef>
              <c:f>temperature!$Q$10</c:f>
              <c:strCache>
                <c:ptCount val="1"/>
                <c:pt idx="0">
                  <c:v>ΣΠΜ10</c:v>
                </c:pt>
              </c:strCache>
            </c:strRef>
          </c:tx>
          <c:spPr>
            <a:ln w="222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dash"/>
            <c:size val="6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temperature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temperature!$R$10:$Y$10</c:f>
              <c:numCache>
                <c:formatCode>0.000</c:formatCode>
                <c:ptCount val="8"/>
                <c:pt idx="0">
                  <c:v>0.86884204632963091</c:v>
                </c:pt>
                <c:pt idx="1">
                  <c:v>0.85166606440563031</c:v>
                </c:pt>
                <c:pt idx="2">
                  <c:v>0.79719375394412462</c:v>
                </c:pt>
                <c:pt idx="3">
                  <c:v>0.7343879006577674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8B21-4B37-8AED-77394EF28297}"/>
            </c:ext>
          </c:extLst>
        </c:ser>
        <c:ser>
          <c:idx val="9"/>
          <c:order val="9"/>
          <c:tx>
            <c:strRef>
              <c:f>temperature!$Q$11</c:f>
              <c:strCache>
                <c:ptCount val="1"/>
                <c:pt idx="0">
                  <c:v>ΣΠΜ24</c:v>
                </c:pt>
              </c:strCache>
            </c:strRef>
          </c:tx>
          <c:spPr>
            <a:ln w="222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temperature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temperature!$R$11:$Y$11</c:f>
              <c:numCache>
                <c:formatCode>0.000</c:formatCode>
                <c:ptCount val="8"/>
                <c:pt idx="0">
                  <c:v>0.86895532196149872</c:v>
                </c:pt>
                <c:pt idx="1">
                  <c:v>0.85168922576961414</c:v>
                </c:pt>
                <c:pt idx="2">
                  <c:v>0.79724728727492644</c:v>
                </c:pt>
                <c:pt idx="3">
                  <c:v>0.7343421498526927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8B21-4B37-8AED-77394EF28297}"/>
            </c:ext>
          </c:extLst>
        </c:ser>
        <c:ser>
          <c:idx val="10"/>
          <c:order val="10"/>
          <c:tx>
            <c:strRef>
              <c:f>temperature!$Q$12</c:f>
              <c:strCache>
                <c:ptCount val="1"/>
                <c:pt idx="0">
                  <c:v>ΣΠΑΜ</c:v>
                </c:pt>
              </c:strCache>
            </c:strRef>
          </c:tx>
          <c:spPr>
            <a:ln w="222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temperature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temperature!$R$12:$Y$12</c:f>
              <c:numCache>
                <c:formatCode>0.000</c:formatCode>
                <c:ptCount val="8"/>
                <c:pt idx="0">
                  <c:v>0.9227079907945146</c:v>
                </c:pt>
                <c:pt idx="1">
                  <c:v>0.83466866124212769</c:v>
                </c:pt>
                <c:pt idx="2">
                  <c:v>0.76701781607778108</c:v>
                </c:pt>
                <c:pt idx="3">
                  <c:v>0.6999086177134734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8B21-4B37-8AED-77394EF282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052736"/>
        <c:axId val="136297088"/>
      </c:scatterChart>
      <c:valAx>
        <c:axId val="136052736"/>
        <c:scaling>
          <c:orientation val="minMax"/>
          <c:max val="2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χρονικο βαθος προγνωσης</a:t>
                </a:r>
                <a:endParaRPr lang="el-G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36297088"/>
        <c:crosses val="autoZero"/>
        <c:crossBetween val="midCat"/>
        <c:majorUnit val="4"/>
      </c:valAx>
      <c:valAx>
        <c:axId val="1362970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συντελεστης αποδοσησ </a:t>
                </a:r>
                <a:r>
                  <a:rPr lang="en-US" sz="900" b="0" i="0" cap="all" baseline="0">
                    <a:effectLst/>
                  </a:rPr>
                  <a:t>nash-sutcliffe</a:t>
                </a:r>
                <a:endParaRPr lang="el-G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3605273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rgbClr val="FF0000"/>
      </a:solidFill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2">
    <c:autoUpdate val="0"/>
  </c:externalData>
  <c:userShapes r:id="rId3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Άνεμος.!$B$1</c:f>
              <c:strCache>
                <c:ptCount val="1"/>
                <c:pt idx="0">
                  <c:v>Μέτρηση ΕΜΥ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Άνεμος.!$A$122:$A$141</c:f>
              <c:numCache>
                <c:formatCode>d/m/yy\ h:mm;@</c:formatCode>
                <c:ptCount val="20"/>
                <c:pt idx="0">
                  <c:v>38342</c:v>
                </c:pt>
                <c:pt idx="1">
                  <c:v>38342.5</c:v>
                </c:pt>
                <c:pt idx="2">
                  <c:v>38343</c:v>
                </c:pt>
                <c:pt idx="3">
                  <c:v>38343.5</c:v>
                </c:pt>
                <c:pt idx="4">
                  <c:v>38344</c:v>
                </c:pt>
                <c:pt idx="5">
                  <c:v>38344.5</c:v>
                </c:pt>
                <c:pt idx="6">
                  <c:v>38345</c:v>
                </c:pt>
                <c:pt idx="7">
                  <c:v>38345.5</c:v>
                </c:pt>
                <c:pt idx="8">
                  <c:v>38346</c:v>
                </c:pt>
                <c:pt idx="9">
                  <c:v>38346.5</c:v>
                </c:pt>
                <c:pt idx="10">
                  <c:v>38347</c:v>
                </c:pt>
                <c:pt idx="11">
                  <c:v>38347.5</c:v>
                </c:pt>
                <c:pt idx="12">
                  <c:v>38348</c:v>
                </c:pt>
                <c:pt idx="13">
                  <c:v>38348.5</c:v>
                </c:pt>
                <c:pt idx="14">
                  <c:v>38349</c:v>
                </c:pt>
                <c:pt idx="15">
                  <c:v>38349.5</c:v>
                </c:pt>
                <c:pt idx="16">
                  <c:v>38350</c:v>
                </c:pt>
                <c:pt idx="17">
                  <c:v>38350.5</c:v>
                </c:pt>
                <c:pt idx="18">
                  <c:v>38351</c:v>
                </c:pt>
                <c:pt idx="19">
                  <c:v>38351.5</c:v>
                </c:pt>
              </c:numCache>
            </c:numRef>
          </c:cat>
          <c:val>
            <c:numRef>
              <c:f>Άνεμος.!$B$122:$B$141</c:f>
              <c:numCache>
                <c:formatCode>General</c:formatCode>
                <c:ptCount val="20"/>
                <c:pt idx="0">
                  <c:v>-1.0395773433972517</c:v>
                </c:pt>
                <c:pt idx="1">
                  <c:v>-0.73974795694495898</c:v>
                </c:pt>
                <c:pt idx="2">
                  <c:v>0.36663958041581307</c:v>
                </c:pt>
                <c:pt idx="3">
                  <c:v>-0.73974795694495898</c:v>
                </c:pt>
                <c:pt idx="4">
                  <c:v>1.5085349462546827E-2</c:v>
                </c:pt>
                <c:pt idx="5">
                  <c:v>-0.73974795694495898</c:v>
                </c:pt>
                <c:pt idx="6">
                  <c:v>-0.33646888149071941</c:v>
                </c:pt>
                <c:pt idx="7">
                  <c:v>-0.40632292595912917</c:v>
                </c:pt>
                <c:pt idx="8">
                  <c:v>-1.0395773433972517</c:v>
                </c:pt>
                <c:pt idx="9">
                  <c:v>-1.4065980189166185</c:v>
                </c:pt>
                <c:pt idx="10">
                  <c:v>-1.0395773433972517</c:v>
                </c:pt>
                <c:pt idx="11">
                  <c:v>-7.289789497329939E-2</c:v>
                </c:pt>
                <c:pt idx="12">
                  <c:v>0.36663958041581307</c:v>
                </c:pt>
                <c:pt idx="13">
                  <c:v>0.26052713601253041</c:v>
                </c:pt>
                <c:pt idx="14">
                  <c:v>-1.0395773433972517</c:v>
                </c:pt>
                <c:pt idx="15">
                  <c:v>-7.289789497329939E-2</c:v>
                </c:pt>
                <c:pt idx="16">
                  <c:v>0.19086246493917994</c:v>
                </c:pt>
                <c:pt idx="17">
                  <c:v>-0.73974795694495898</c:v>
                </c:pt>
                <c:pt idx="18">
                  <c:v>-1.0395773433972517</c:v>
                </c:pt>
                <c:pt idx="19">
                  <c:v>-1.40659801891661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97-4242-8935-4C84213A54E1}"/>
            </c:ext>
          </c:extLst>
        </c:ser>
        <c:ser>
          <c:idx val="1"/>
          <c:order val="1"/>
          <c:tx>
            <c:strRef>
              <c:f>Άνεμος.!$C$1</c:f>
              <c:strCache>
                <c:ptCount val="1"/>
                <c:pt idx="0">
                  <c:v>ΣΜ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Άνεμος.!$A$122:$A$141</c:f>
              <c:numCache>
                <c:formatCode>d/m/yy\ h:mm;@</c:formatCode>
                <c:ptCount val="20"/>
                <c:pt idx="0">
                  <c:v>38342</c:v>
                </c:pt>
                <c:pt idx="1">
                  <c:v>38342.5</c:v>
                </c:pt>
                <c:pt idx="2">
                  <c:v>38343</c:v>
                </c:pt>
                <c:pt idx="3">
                  <c:v>38343.5</c:v>
                </c:pt>
                <c:pt idx="4">
                  <c:v>38344</c:v>
                </c:pt>
                <c:pt idx="5">
                  <c:v>38344.5</c:v>
                </c:pt>
                <c:pt idx="6">
                  <c:v>38345</c:v>
                </c:pt>
                <c:pt idx="7">
                  <c:v>38345.5</c:v>
                </c:pt>
                <c:pt idx="8">
                  <c:v>38346</c:v>
                </c:pt>
                <c:pt idx="9">
                  <c:v>38346.5</c:v>
                </c:pt>
                <c:pt idx="10">
                  <c:v>38347</c:v>
                </c:pt>
                <c:pt idx="11">
                  <c:v>38347.5</c:v>
                </c:pt>
                <c:pt idx="12">
                  <c:v>38348</c:v>
                </c:pt>
                <c:pt idx="13">
                  <c:v>38348.5</c:v>
                </c:pt>
                <c:pt idx="14">
                  <c:v>38349</c:v>
                </c:pt>
                <c:pt idx="15">
                  <c:v>38349.5</c:v>
                </c:pt>
                <c:pt idx="16">
                  <c:v>38350</c:v>
                </c:pt>
                <c:pt idx="17">
                  <c:v>38350.5</c:v>
                </c:pt>
                <c:pt idx="18">
                  <c:v>38351</c:v>
                </c:pt>
                <c:pt idx="19">
                  <c:v>38351.5</c:v>
                </c:pt>
              </c:numCache>
            </c:numRef>
          </c:cat>
          <c:val>
            <c:numRef>
              <c:f>Άνεμος.!$C$122:$C$141</c:f>
              <c:numCache>
                <c:formatCode>General</c:formatCode>
                <c:ptCount val="20"/>
                <c:pt idx="0">
                  <c:v>-0.64767011024690102</c:v>
                </c:pt>
                <c:pt idx="1">
                  <c:v>-0.59179043161461298</c:v>
                </c:pt>
                <c:pt idx="2">
                  <c:v>-0.41935208657119977</c:v>
                </c:pt>
                <c:pt idx="3">
                  <c:v>-6.1212493440462923E-2</c:v>
                </c:pt>
                <c:pt idx="4">
                  <c:v>-0.21613205684651718</c:v>
                </c:pt>
                <c:pt idx="5">
                  <c:v>-0.17795321129334871</c:v>
                </c:pt>
                <c:pt idx="6">
                  <c:v>-0.42078358472203814</c:v>
                </c:pt>
                <c:pt idx="7">
                  <c:v>-0.34490914683712776</c:v>
                </c:pt>
                <c:pt idx="8">
                  <c:v>-0.23452461674094038</c:v>
                </c:pt>
                <c:pt idx="9">
                  <c:v>-0.47528977287757257</c:v>
                </c:pt>
                <c:pt idx="10">
                  <c:v>-0.66178892194338657</c:v>
                </c:pt>
                <c:pt idx="11">
                  <c:v>-0.55678863899259612</c:v>
                </c:pt>
                <c:pt idx="12">
                  <c:v>-9.4437766114234642E-2</c:v>
                </c:pt>
                <c:pt idx="13">
                  <c:v>7.9104860536666294E-2</c:v>
                </c:pt>
                <c:pt idx="14">
                  <c:v>0.13614140822867798</c:v>
                </c:pt>
                <c:pt idx="15">
                  <c:v>-0.34557094430491159</c:v>
                </c:pt>
                <c:pt idx="16">
                  <c:v>-0.12062871823756635</c:v>
                </c:pt>
                <c:pt idx="17">
                  <c:v>-3.5053173903115457E-2</c:v>
                </c:pt>
                <c:pt idx="18">
                  <c:v>-0.10768752112010531</c:v>
                </c:pt>
                <c:pt idx="19">
                  <c:v>-0.537727622514438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B97-4242-8935-4C84213A54E1}"/>
            </c:ext>
          </c:extLst>
        </c:ser>
        <c:ser>
          <c:idx val="2"/>
          <c:order val="2"/>
          <c:tx>
            <c:strRef>
              <c:f>Άνεμος.!$D$1</c:f>
              <c:strCache>
                <c:ptCount val="1"/>
                <c:pt idx="0">
                  <c:v>Μετεωρολογική πρόβλεψη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Άνεμος.!$A$122:$A$141</c:f>
              <c:numCache>
                <c:formatCode>d/m/yy\ h:mm;@</c:formatCode>
                <c:ptCount val="20"/>
                <c:pt idx="0">
                  <c:v>38342</c:v>
                </c:pt>
                <c:pt idx="1">
                  <c:v>38342.5</c:v>
                </c:pt>
                <c:pt idx="2">
                  <c:v>38343</c:v>
                </c:pt>
                <c:pt idx="3">
                  <c:v>38343.5</c:v>
                </c:pt>
                <c:pt idx="4">
                  <c:v>38344</c:v>
                </c:pt>
                <c:pt idx="5">
                  <c:v>38344.5</c:v>
                </c:pt>
                <c:pt idx="6">
                  <c:v>38345</c:v>
                </c:pt>
                <c:pt idx="7">
                  <c:v>38345.5</c:v>
                </c:pt>
                <c:pt idx="8">
                  <c:v>38346</c:v>
                </c:pt>
                <c:pt idx="9">
                  <c:v>38346.5</c:v>
                </c:pt>
                <c:pt idx="10">
                  <c:v>38347</c:v>
                </c:pt>
                <c:pt idx="11">
                  <c:v>38347.5</c:v>
                </c:pt>
                <c:pt idx="12">
                  <c:v>38348</c:v>
                </c:pt>
                <c:pt idx="13">
                  <c:v>38348.5</c:v>
                </c:pt>
                <c:pt idx="14">
                  <c:v>38349</c:v>
                </c:pt>
                <c:pt idx="15">
                  <c:v>38349.5</c:v>
                </c:pt>
                <c:pt idx="16">
                  <c:v>38350</c:v>
                </c:pt>
                <c:pt idx="17">
                  <c:v>38350.5</c:v>
                </c:pt>
                <c:pt idx="18">
                  <c:v>38351</c:v>
                </c:pt>
                <c:pt idx="19">
                  <c:v>38351.5</c:v>
                </c:pt>
              </c:numCache>
            </c:numRef>
          </c:cat>
          <c:val>
            <c:numRef>
              <c:f>Άνεμος.!$D$122:$D$141</c:f>
              <c:numCache>
                <c:formatCode>General</c:formatCode>
                <c:ptCount val="20"/>
                <c:pt idx="0">
                  <c:v>-1.3726276761929634</c:v>
                </c:pt>
                <c:pt idx="1">
                  <c:v>-0.58499389951804259</c:v>
                </c:pt>
                <c:pt idx="2">
                  <c:v>0.28664424343072015</c:v>
                </c:pt>
                <c:pt idx="3">
                  <c:v>0.87511995110931884</c:v>
                </c:pt>
                <c:pt idx="4">
                  <c:v>-2.4065103567363594E-2</c:v>
                </c:pt>
                <c:pt idx="5">
                  <c:v>-0.19533733601594347</c:v>
                </c:pt>
                <c:pt idx="6">
                  <c:v>-0.29827942080383635</c:v>
                </c:pt>
                <c:pt idx="7">
                  <c:v>-0.57563894913904012</c:v>
                </c:pt>
                <c:pt idx="8">
                  <c:v>-0.84767480671825224</c:v>
                </c:pt>
                <c:pt idx="9">
                  <c:v>-1.7212155022642888</c:v>
                </c:pt>
                <c:pt idx="10">
                  <c:v>-0.42318167427881376</c:v>
                </c:pt>
                <c:pt idx="11">
                  <c:v>0.94290696609249935</c:v>
                </c:pt>
                <c:pt idx="12">
                  <c:v>1.0666772899605903</c:v>
                </c:pt>
                <c:pt idx="13">
                  <c:v>0.50732174094060878</c:v>
                </c:pt>
                <c:pt idx="14">
                  <c:v>0.24479702697686662</c:v>
                </c:pt>
                <c:pt idx="15">
                  <c:v>0.93499859858242118</c:v>
                </c:pt>
                <c:pt idx="16">
                  <c:v>0.91213867112003544</c:v>
                </c:pt>
                <c:pt idx="17">
                  <c:v>0.34466838168699621</c:v>
                </c:pt>
                <c:pt idx="18">
                  <c:v>-1.0003250120008929</c:v>
                </c:pt>
                <c:pt idx="19">
                  <c:v>-1.5412766707615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B97-4242-8935-4C84213A54E1}"/>
            </c:ext>
          </c:extLst>
        </c:ser>
        <c:ser>
          <c:idx val="3"/>
          <c:order val="3"/>
          <c:tx>
            <c:strRef>
              <c:f>Άνεμος.!$E$1</c:f>
              <c:strCache>
                <c:ptCount val="1"/>
                <c:pt idx="0">
                  <c:v>ΣΠΜ2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Άνεμος.!$A$122:$A$141</c:f>
              <c:numCache>
                <c:formatCode>d/m/yy\ h:mm;@</c:formatCode>
                <c:ptCount val="20"/>
                <c:pt idx="0">
                  <c:v>38342</c:v>
                </c:pt>
                <c:pt idx="1">
                  <c:v>38342.5</c:v>
                </c:pt>
                <c:pt idx="2">
                  <c:v>38343</c:v>
                </c:pt>
                <c:pt idx="3">
                  <c:v>38343.5</c:v>
                </c:pt>
                <c:pt idx="4">
                  <c:v>38344</c:v>
                </c:pt>
                <c:pt idx="5">
                  <c:v>38344.5</c:v>
                </c:pt>
                <c:pt idx="6">
                  <c:v>38345</c:v>
                </c:pt>
                <c:pt idx="7">
                  <c:v>38345.5</c:v>
                </c:pt>
                <c:pt idx="8">
                  <c:v>38346</c:v>
                </c:pt>
                <c:pt idx="9">
                  <c:v>38346.5</c:v>
                </c:pt>
                <c:pt idx="10">
                  <c:v>38347</c:v>
                </c:pt>
                <c:pt idx="11">
                  <c:v>38347.5</c:v>
                </c:pt>
                <c:pt idx="12">
                  <c:v>38348</c:v>
                </c:pt>
                <c:pt idx="13">
                  <c:v>38348.5</c:v>
                </c:pt>
                <c:pt idx="14">
                  <c:v>38349</c:v>
                </c:pt>
                <c:pt idx="15">
                  <c:v>38349.5</c:v>
                </c:pt>
                <c:pt idx="16">
                  <c:v>38350</c:v>
                </c:pt>
                <c:pt idx="17">
                  <c:v>38350.5</c:v>
                </c:pt>
                <c:pt idx="18">
                  <c:v>38351</c:v>
                </c:pt>
                <c:pt idx="19">
                  <c:v>38351.5</c:v>
                </c:pt>
              </c:numCache>
            </c:numRef>
          </c:cat>
          <c:val>
            <c:numRef>
              <c:f>Άνεμος.!$E$122:$E$141</c:f>
              <c:numCache>
                <c:formatCode>General</c:formatCode>
                <c:ptCount val="20"/>
                <c:pt idx="0">
                  <c:v>-0.98784626436740464</c:v>
                </c:pt>
                <c:pt idx="1">
                  <c:v>-0.51375538717832081</c:v>
                </c:pt>
                <c:pt idx="2">
                  <c:v>4.5164876331399664E-2</c:v>
                </c:pt>
                <c:pt idx="3">
                  <c:v>0.46736687793560466</c:v>
                </c:pt>
                <c:pt idx="4">
                  <c:v>-8.3294221643439123E-2</c:v>
                </c:pt>
                <c:pt idx="5">
                  <c:v>-0.18969655075164915</c:v>
                </c:pt>
                <c:pt idx="6">
                  <c:v>-0.30099040738314775</c:v>
                </c:pt>
                <c:pt idx="7">
                  <c:v>-0.45630788273904638</c:v>
                </c:pt>
                <c:pt idx="8">
                  <c:v>-0.57023114207123049</c:v>
                </c:pt>
                <c:pt idx="9">
                  <c:v>-1.1504123942733049</c:v>
                </c:pt>
                <c:pt idx="10">
                  <c:v>-0.4516270658775618</c:v>
                </c:pt>
                <c:pt idx="11">
                  <c:v>0.36044205893606013</c:v>
                </c:pt>
                <c:pt idx="12">
                  <c:v>0.6023245880763517</c:v>
                </c:pt>
                <c:pt idx="13">
                  <c:v>0.3102352175218458</c:v>
                </c:pt>
                <c:pt idx="14">
                  <c:v>0.17429626685356103</c:v>
                </c:pt>
                <c:pt idx="15">
                  <c:v>0.44032878242274681</c:v>
                </c:pt>
                <c:pt idx="16">
                  <c:v>0.50003709031713628</c:v>
                </c:pt>
                <c:pt idx="17">
                  <c:v>0.18785213633508724</c:v>
                </c:pt>
                <c:pt idx="18">
                  <c:v>-0.62248750633907479</c:v>
                </c:pt>
                <c:pt idx="19">
                  <c:v>-1.0766971318671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B97-4242-8935-4C84213A54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0683664"/>
        <c:axId val="546848416"/>
      </c:barChart>
      <c:catAx>
        <c:axId val="750683664"/>
        <c:scaling>
          <c:orientation val="minMax"/>
        </c:scaling>
        <c:delete val="0"/>
        <c:axPos val="b"/>
        <c:numFmt formatCode="d/m/yy\ h:m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546848416"/>
        <c:crosses val="autoZero"/>
        <c:auto val="0"/>
        <c:lblAlgn val="ctr"/>
        <c:lblOffset val="100"/>
        <c:noMultiLvlLbl val="0"/>
      </c:catAx>
      <c:valAx>
        <c:axId val="546848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750683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rgbClr val="0000FF"/>
      </a:solidFill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60526413071605"/>
          <c:y val="0.14104361954755654"/>
          <c:w val="0.84345310709400767"/>
          <c:h val="0.73354955630546292"/>
        </c:manualLayout>
      </c:layout>
      <c:scatterChart>
        <c:scatterStyle val="lineMarker"/>
        <c:varyColors val="0"/>
        <c:ser>
          <c:idx val="0"/>
          <c:order val="0"/>
          <c:tx>
            <c:strRef>
              <c:f>θερμοκρασία!$B$6</c:f>
              <c:strCache>
                <c:ptCount val="1"/>
                <c:pt idx="0">
                  <c:v>α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θερμοκρασία!$C$5:$J$5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θερμοκρασία!$C$6:$J$6</c:f>
              <c:numCache>
                <c:formatCode>0.0</c:formatCode>
                <c:ptCount val="8"/>
                <c:pt idx="0">
                  <c:v>0.90622580089444871</c:v>
                </c:pt>
                <c:pt idx="1">
                  <c:v>0.82556096974137883</c:v>
                </c:pt>
                <c:pt idx="2">
                  <c:v>0.76545160787866162</c:v>
                </c:pt>
                <c:pt idx="3">
                  <c:v>0.72852073011090723</c:v>
                </c:pt>
                <c:pt idx="4">
                  <c:v>0.70989266386652661</c:v>
                </c:pt>
                <c:pt idx="5">
                  <c:v>0.7038250756572606</c:v>
                </c:pt>
                <c:pt idx="6">
                  <c:v>0.70079094230969208</c:v>
                </c:pt>
                <c:pt idx="7">
                  <c:v>0.685927362360335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C04-4462-B1DC-4322D92EC0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4151168"/>
        <c:axId val="44153088"/>
      </c:scatterChart>
      <c:valAx>
        <c:axId val="44151168"/>
        <c:scaling>
          <c:orientation val="minMax"/>
          <c:max val="2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ΧΡΟΝΙΚΟ ΒΑΘΟΣ ΠΡΟΓΝΩΣΗΣ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44153088"/>
        <c:crosses val="autoZero"/>
        <c:crossBetween val="midCat"/>
        <c:majorUnit val="4"/>
      </c:valAx>
      <c:valAx>
        <c:axId val="441530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ΣΥΝΤΕΛΕΣΤΗΣ ΒΑΡΥΤΗΤΑΣ ΜΕΘΟΔΟΥ</a:t>
                </a:r>
                <a:r>
                  <a:rPr lang="el-GR" baseline="0"/>
                  <a:t> ΣΜ1</a:t>
                </a:r>
                <a:endParaRPr lang="el-GR"/>
              </a:p>
            </c:rich>
          </c:tx>
          <c:layout>
            <c:manualLayout>
              <c:xMode val="edge"/>
              <c:yMode val="edge"/>
              <c:x val="5.5124621274600894E-3"/>
              <c:y val="0.16348899480726969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.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4415116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FF0000"/>
      </a:solidFill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7"/>
      <c:rotY val="13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2.528292800385264E-2"/>
          <c:y val="1.972738247535992E-2"/>
          <c:w val="0.95485191427883676"/>
          <c:h val="0.91284663982783742"/>
        </c:manualLayout>
      </c:layout>
      <c:area3DChart>
        <c:grouping val="standard"/>
        <c:varyColors val="0"/>
        <c:ser>
          <c:idx val="0"/>
          <c:order val="0"/>
          <c:tx>
            <c:strRef>
              <c:f>temperature!$B$2</c:f>
              <c:strCache>
                <c:ptCount val="1"/>
                <c:pt idx="0">
                  <c:v>α0</c:v>
                </c:pt>
              </c:strCache>
            </c:strRef>
          </c:tx>
          <c:spPr>
            <a:solidFill>
              <a:schemeClr val="accent1">
                <a:alpha val="35000"/>
              </a:schemeClr>
            </a:solidFill>
            <a:ln w="9525">
              <a:solidFill>
                <a:schemeClr val="accent1"/>
              </a:solidFill>
            </a:ln>
            <a:effectLst/>
            <a:sp3d contourW="9525">
              <a:contourClr>
                <a:schemeClr val="accent1"/>
              </a:contourClr>
            </a:sp3d>
          </c:spPr>
          <c:cat>
            <c:numRef>
              <c:f>temperature!$A$3:$A$10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cat>
          <c:val>
            <c:numRef>
              <c:f>temperature!$B$3:$B$10</c:f>
              <c:numCache>
                <c:formatCode>0.0</c:formatCode>
                <c:ptCount val="8"/>
                <c:pt idx="0">
                  <c:v>0.8071266010178465</c:v>
                </c:pt>
                <c:pt idx="1">
                  <c:v>0.63525430667268101</c:v>
                </c:pt>
                <c:pt idx="2">
                  <c:v>0.50576482548824853</c:v>
                </c:pt>
                <c:pt idx="3">
                  <c:v>0.42301602252366532</c:v>
                </c:pt>
                <c:pt idx="4">
                  <c:v>0.37261296995427284</c:v>
                </c:pt>
                <c:pt idx="5">
                  <c:v>0.37229429880998782</c:v>
                </c:pt>
                <c:pt idx="6">
                  <c:v>0.43810136560127338</c:v>
                </c:pt>
                <c:pt idx="7">
                  <c:v>0.577154087798136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51-434B-9C15-FBA583F2630D}"/>
            </c:ext>
          </c:extLst>
        </c:ser>
        <c:ser>
          <c:idx val="1"/>
          <c:order val="1"/>
          <c:tx>
            <c:strRef>
              <c:f>temperature!$C$2</c:f>
              <c:strCache>
                <c:ptCount val="1"/>
                <c:pt idx="0">
                  <c:v>α1</c:v>
                </c:pt>
              </c:strCache>
            </c:strRef>
          </c:tx>
          <c:spPr>
            <a:solidFill>
              <a:schemeClr val="accent2">
                <a:alpha val="35000"/>
              </a:schemeClr>
            </a:solidFill>
            <a:ln w="9525">
              <a:solidFill>
                <a:schemeClr val="accent2"/>
              </a:solidFill>
            </a:ln>
            <a:effectLst/>
            <a:sp3d contourW="9525">
              <a:contourClr>
                <a:schemeClr val="accent2"/>
              </a:contourClr>
            </a:sp3d>
          </c:spPr>
          <c:cat>
            <c:numRef>
              <c:f>temperature!$A$3:$A$10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cat>
          <c:val>
            <c:numRef>
              <c:f>temperature!$C$3:$C$10</c:f>
              <c:numCache>
                <c:formatCode>0.0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6.3650614659132758E-3</c:v>
                </c:pt>
                <c:pt idx="4">
                  <c:v>4.6518648927879727E-2</c:v>
                </c:pt>
                <c:pt idx="5">
                  <c:v>0.11197821907211433</c:v>
                </c:pt>
                <c:pt idx="6">
                  <c:v>0.19584915986790608</c:v>
                </c:pt>
                <c:pt idx="7">
                  <c:v>5.6161980377051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51-434B-9C15-FBA583F2630D}"/>
            </c:ext>
          </c:extLst>
        </c:ser>
        <c:ser>
          <c:idx val="2"/>
          <c:order val="2"/>
          <c:tx>
            <c:strRef>
              <c:f>temperature!$D$2</c:f>
              <c:strCache>
                <c:ptCount val="1"/>
                <c:pt idx="0">
                  <c:v>α2</c:v>
                </c:pt>
              </c:strCache>
            </c:strRef>
          </c:tx>
          <c:spPr>
            <a:solidFill>
              <a:schemeClr val="accent3">
                <a:alpha val="35000"/>
              </a:schemeClr>
            </a:solidFill>
            <a:ln w="9525">
              <a:solidFill>
                <a:schemeClr val="accent3"/>
              </a:solidFill>
            </a:ln>
            <a:effectLst/>
            <a:sp3d contourW="9525">
              <a:contourClr>
                <a:schemeClr val="accent3"/>
              </a:contourClr>
            </a:sp3d>
          </c:spPr>
          <c:cat>
            <c:numRef>
              <c:f>temperature!$A$3:$A$10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cat>
          <c:val>
            <c:numRef>
              <c:f>temperature!$D$3:$D$10</c:f>
              <c:numCache>
                <c:formatCode>0.0</c:formatCode>
                <c:ptCount val="8"/>
                <c:pt idx="0">
                  <c:v>0</c:v>
                </c:pt>
                <c:pt idx="1">
                  <c:v>0</c:v>
                </c:pt>
                <c:pt idx="2">
                  <c:v>1.3193117092864267E-2</c:v>
                </c:pt>
                <c:pt idx="3">
                  <c:v>6.1966649453733855E-2</c:v>
                </c:pt>
                <c:pt idx="4">
                  <c:v>0.12622916086579383</c:v>
                </c:pt>
                <c:pt idx="5">
                  <c:v>0.21042266207686081</c:v>
                </c:pt>
                <c:pt idx="6">
                  <c:v>7.26285605579058E-2</c:v>
                </c:pt>
                <c:pt idx="7">
                  <c:v>2.611563200880389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651-434B-9C15-FBA583F2630D}"/>
            </c:ext>
          </c:extLst>
        </c:ser>
        <c:ser>
          <c:idx val="3"/>
          <c:order val="3"/>
          <c:tx>
            <c:strRef>
              <c:f>temperature!$E$2</c:f>
              <c:strCache>
                <c:ptCount val="1"/>
                <c:pt idx="0">
                  <c:v>α3</c:v>
                </c:pt>
              </c:strCache>
            </c:strRef>
          </c:tx>
          <c:spPr>
            <a:solidFill>
              <a:schemeClr val="accent4">
                <a:alpha val="35000"/>
              </a:schemeClr>
            </a:solidFill>
            <a:ln w="9525">
              <a:solidFill>
                <a:schemeClr val="accent4"/>
              </a:solidFill>
            </a:ln>
            <a:effectLst/>
            <a:sp3d contourW="9525">
              <a:contourClr>
                <a:schemeClr val="accent4"/>
              </a:contourClr>
            </a:sp3d>
          </c:spPr>
          <c:cat>
            <c:numRef>
              <c:f>temperature!$A$3:$A$10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cat>
          <c:val>
            <c:numRef>
              <c:f>temperature!$E$3:$E$10</c:f>
              <c:numCache>
                <c:formatCode>0.0</c:formatCode>
                <c:ptCount val="8"/>
                <c:pt idx="0">
                  <c:v>0</c:v>
                </c:pt>
                <c:pt idx="1">
                  <c:v>1.9921642778831551E-2</c:v>
                </c:pt>
                <c:pt idx="2">
                  <c:v>7.1855396801579541E-2</c:v>
                </c:pt>
                <c:pt idx="3">
                  <c:v>0.13447911785605621</c:v>
                </c:pt>
                <c:pt idx="4">
                  <c:v>0.21876555316095209</c:v>
                </c:pt>
                <c:pt idx="5">
                  <c:v>7.3585921688444536E-2</c:v>
                </c:pt>
                <c:pt idx="6">
                  <c:v>3.3008928707885181E-2</c:v>
                </c:pt>
                <c:pt idx="7">
                  <c:v>3.122710822495573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651-434B-9C15-FBA583F2630D}"/>
            </c:ext>
          </c:extLst>
        </c:ser>
        <c:ser>
          <c:idx val="4"/>
          <c:order val="4"/>
          <c:tx>
            <c:strRef>
              <c:f>temperature!$F$2</c:f>
              <c:strCache>
                <c:ptCount val="1"/>
                <c:pt idx="0">
                  <c:v>α4</c:v>
                </c:pt>
              </c:strCache>
            </c:strRef>
          </c:tx>
          <c:spPr>
            <a:solidFill>
              <a:schemeClr val="accent5">
                <a:alpha val="35000"/>
              </a:schemeClr>
            </a:solidFill>
            <a:ln w="9525">
              <a:solidFill>
                <a:schemeClr val="accent5"/>
              </a:solidFill>
            </a:ln>
            <a:effectLst/>
            <a:sp3d contourW="9525">
              <a:contourClr>
                <a:schemeClr val="accent5"/>
              </a:contourClr>
            </a:sp3d>
          </c:spPr>
          <c:cat>
            <c:numRef>
              <c:f>temperature!$A$3:$A$10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cat>
          <c:val>
            <c:numRef>
              <c:f>temperature!$F$3:$F$10</c:f>
              <c:numCache>
                <c:formatCode>0.0</c:formatCode>
                <c:ptCount val="8"/>
                <c:pt idx="0">
                  <c:v>1.661418394710746E-2</c:v>
                </c:pt>
                <c:pt idx="1">
                  <c:v>6.257586982553269E-2</c:v>
                </c:pt>
                <c:pt idx="2">
                  <c:v>0.12852721572353568</c:v>
                </c:pt>
                <c:pt idx="3">
                  <c:v>0.19984082178192203</c:v>
                </c:pt>
                <c:pt idx="4">
                  <c:v>3.216929041392632E-2</c:v>
                </c:pt>
                <c:pt idx="5">
                  <c:v>0</c:v>
                </c:pt>
                <c:pt idx="6">
                  <c:v>0</c:v>
                </c:pt>
                <c:pt idx="7">
                  <c:v>1.707279362921329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51-434B-9C15-FBA583F2630D}"/>
            </c:ext>
          </c:extLst>
        </c:ser>
        <c:ser>
          <c:idx val="5"/>
          <c:order val="5"/>
          <c:tx>
            <c:strRef>
              <c:f>temperature!$G$2</c:f>
              <c:strCache>
                <c:ptCount val="1"/>
                <c:pt idx="0">
                  <c:v>α5</c:v>
                </c:pt>
              </c:strCache>
            </c:strRef>
          </c:tx>
          <c:spPr>
            <a:solidFill>
              <a:schemeClr val="accent6">
                <a:alpha val="35000"/>
              </a:schemeClr>
            </a:solidFill>
            <a:ln w="9525">
              <a:solidFill>
                <a:schemeClr val="accent6"/>
              </a:solidFill>
            </a:ln>
            <a:effectLst/>
            <a:sp3d contourW="9525">
              <a:contourClr>
                <a:schemeClr val="accent6"/>
              </a:contourClr>
            </a:sp3d>
          </c:spPr>
          <c:cat>
            <c:numRef>
              <c:f>temperature!$A$3:$A$10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cat>
          <c:val>
            <c:numRef>
              <c:f>temperature!$G$3:$G$10</c:f>
              <c:numCache>
                <c:formatCode>0.0</c:formatCode>
                <c:ptCount val="8"/>
                <c:pt idx="0">
                  <c:v>4.446408791275093E-2</c:v>
                </c:pt>
                <c:pt idx="1">
                  <c:v>0.11695150386114715</c:v>
                </c:pt>
                <c:pt idx="2">
                  <c:v>0.1409765619928707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651-434B-9C15-FBA583F2630D}"/>
            </c:ext>
          </c:extLst>
        </c:ser>
        <c:ser>
          <c:idx val="6"/>
          <c:order val="6"/>
          <c:tx>
            <c:strRef>
              <c:f>temperature!$H$2</c:f>
              <c:strCache>
                <c:ptCount val="1"/>
                <c:pt idx="0">
                  <c:v>α6</c:v>
                </c:pt>
              </c:strCache>
            </c:strRef>
          </c:tx>
          <c:spPr>
            <a:solidFill>
              <a:schemeClr val="accent1">
                <a:lumMod val="60000"/>
                <a:alpha val="35000"/>
              </a:schemeClr>
            </a:solidFill>
            <a:ln w="9525">
              <a:solidFill>
                <a:schemeClr val="accent1">
                  <a:lumMod val="60000"/>
                </a:schemeClr>
              </a:solidFill>
            </a:ln>
            <a:effectLst/>
            <a:sp3d contourW="9525">
              <a:contourClr>
                <a:schemeClr val="accent1">
                  <a:lumMod val="60000"/>
                </a:schemeClr>
              </a:contourClr>
            </a:sp3d>
          </c:spPr>
          <c:cat>
            <c:numRef>
              <c:f>temperature!$A$3:$A$10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cat>
          <c:val>
            <c:numRef>
              <c:f>temperature!$H$3:$H$10</c:f>
              <c:numCache>
                <c:formatCode>0.0</c:formatCode>
                <c:ptCount val="8"/>
                <c:pt idx="0">
                  <c:v>7.8710274142019698E-2</c:v>
                </c:pt>
                <c:pt idx="1">
                  <c:v>6.5895053037898194E-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651-434B-9C15-FBA583F2630D}"/>
            </c:ext>
          </c:extLst>
        </c:ser>
        <c:ser>
          <c:idx val="7"/>
          <c:order val="7"/>
          <c:tx>
            <c:strRef>
              <c:f>temperature!$I$2</c:f>
              <c:strCache>
                <c:ptCount val="1"/>
                <c:pt idx="0">
                  <c:v>α7</c:v>
                </c:pt>
              </c:strCache>
            </c:strRef>
          </c:tx>
          <c:spPr>
            <a:solidFill>
              <a:schemeClr val="accent2">
                <a:lumMod val="60000"/>
                <a:alpha val="35000"/>
              </a:schemeClr>
            </a:solidFill>
            <a:ln w="9525">
              <a:solidFill>
                <a:schemeClr val="accent2">
                  <a:lumMod val="60000"/>
                </a:schemeClr>
              </a:solidFill>
            </a:ln>
            <a:effectLst/>
            <a:sp3d contourW="9525">
              <a:contourClr>
                <a:schemeClr val="accent2">
                  <a:lumMod val="60000"/>
                </a:schemeClr>
              </a:contourClr>
            </a:sp3d>
          </c:spPr>
          <c:cat>
            <c:numRef>
              <c:f>temperature!$A$3:$A$10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cat>
          <c:val>
            <c:numRef>
              <c:f>temperature!$I$3:$I$10</c:f>
              <c:numCache>
                <c:formatCode>0.0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651-434B-9C15-FBA583F2630D}"/>
            </c:ext>
          </c:extLst>
        </c:ser>
        <c:ser>
          <c:idx val="8"/>
          <c:order val="8"/>
          <c:tx>
            <c:strRef>
              <c:f>temperature!$J$2</c:f>
              <c:strCache>
                <c:ptCount val="1"/>
                <c:pt idx="0">
                  <c:v>α8</c:v>
                </c:pt>
              </c:strCache>
            </c:strRef>
          </c:tx>
          <c:spPr>
            <a:solidFill>
              <a:schemeClr val="accent3">
                <a:lumMod val="60000"/>
                <a:alpha val="35000"/>
              </a:schemeClr>
            </a:solidFill>
            <a:ln w="9525">
              <a:solidFill>
                <a:schemeClr val="accent3">
                  <a:lumMod val="60000"/>
                </a:schemeClr>
              </a:solidFill>
            </a:ln>
            <a:effectLst/>
            <a:sp3d contourW="9525">
              <a:contourClr>
                <a:schemeClr val="accent3">
                  <a:lumMod val="60000"/>
                </a:schemeClr>
              </a:contourClr>
            </a:sp3d>
          </c:spPr>
          <c:cat>
            <c:numRef>
              <c:f>temperature!$A$3:$A$10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cat>
          <c:val>
            <c:numRef>
              <c:f>temperature!$J$3:$J$10</c:f>
              <c:numCache>
                <c:formatCode>0.0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651-434B-9C15-FBA583F2630D}"/>
            </c:ext>
          </c:extLst>
        </c:ser>
        <c:ser>
          <c:idx val="9"/>
          <c:order val="9"/>
          <c:tx>
            <c:strRef>
              <c:f>temperature!$K$2</c:f>
              <c:strCache>
                <c:ptCount val="1"/>
                <c:pt idx="0">
                  <c:v>α9</c:v>
                </c:pt>
              </c:strCache>
            </c:strRef>
          </c:tx>
          <c:spPr>
            <a:solidFill>
              <a:schemeClr val="accent4">
                <a:lumMod val="60000"/>
                <a:alpha val="35000"/>
              </a:schemeClr>
            </a:solidFill>
            <a:ln w="9525">
              <a:solidFill>
                <a:schemeClr val="accent4">
                  <a:lumMod val="60000"/>
                </a:schemeClr>
              </a:solidFill>
            </a:ln>
            <a:effectLst/>
            <a:sp3d contourW="9525">
              <a:contourClr>
                <a:schemeClr val="accent4">
                  <a:lumMod val="60000"/>
                </a:schemeClr>
              </a:contourClr>
            </a:sp3d>
          </c:spPr>
          <c:cat>
            <c:numRef>
              <c:f>temperature!$A$3:$A$10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cat>
          <c:val>
            <c:numRef>
              <c:f>temperature!$K$3:$K$10</c:f>
              <c:numCache>
                <c:formatCode>0.0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651-434B-9C15-FBA583F263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4312192"/>
        <c:axId val="164313728"/>
        <c:axId val="164304192"/>
      </c:area3DChart>
      <c:catAx>
        <c:axId val="164312192"/>
        <c:scaling>
          <c:orientation val="maxMin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>
            <a:solidFill>
              <a:schemeClr val="tx1">
                <a:lumMod val="5000"/>
                <a:lumOff val="9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4313728"/>
        <c:crosses val="autoZero"/>
        <c:auto val="1"/>
        <c:lblAlgn val="ctr"/>
        <c:lblOffset val="100"/>
        <c:noMultiLvlLbl val="0"/>
      </c:catAx>
      <c:valAx>
        <c:axId val="164313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0.0" sourceLinked="1"/>
        <c:majorTickMark val="out"/>
        <c:minorTickMark val="none"/>
        <c:tickLblPos val="nextTo"/>
        <c:spPr>
          <a:noFill/>
          <a:ln w="9525">
            <a:solidFill>
              <a:schemeClr val="tx1">
                <a:lumMod val="5000"/>
                <a:lumOff val="9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4312192"/>
        <c:crossesAt val="1"/>
        <c:crossBetween val="midCat"/>
      </c:valAx>
      <c:serAx>
        <c:axId val="16430419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"/>
                <a:lumOff val="9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4313728"/>
        <c:crosses val="autoZero"/>
      </c:serAx>
      <c:spPr>
        <a:noFill/>
        <a:ln>
          <a:noFill/>
        </a:ln>
        <a:effectLst/>
      </c:spPr>
    </c:plotArea>
    <c:plotVisOnly val="1"/>
    <c:dispBlanksAs val="zero"/>
    <c:showDLblsOverMax val="0"/>
  </c:chart>
  <c:spPr>
    <a:solidFill>
      <a:schemeClr val="bg1"/>
    </a:solidFill>
    <a:ln w="9525" cap="flat" cmpd="sng" algn="ctr">
      <a:solidFill>
        <a:srgbClr val="00B050"/>
      </a:solidFill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66155483849509"/>
          <c:y val="9.350882914783612E-2"/>
          <c:w val="0.83734511069322604"/>
          <c:h val="0.668564816971844"/>
        </c:manualLayout>
      </c:layout>
      <c:scatterChart>
        <c:scatterStyle val="lineMarker"/>
        <c:varyColors val="0"/>
        <c:ser>
          <c:idx val="0"/>
          <c:order val="0"/>
          <c:tx>
            <c:strRef>
              <c:f>θερμοκρασία!$B$11</c:f>
              <c:strCache>
                <c:ptCount val="1"/>
                <c:pt idx="0">
                  <c:v>Συντελεστής βαρύτητας μέτρησης (α)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θερμοκρασία!$C$10:$F$10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</c:numCache>
            </c:numRef>
          </c:xVal>
          <c:yVal>
            <c:numRef>
              <c:f>θερμοκρασία!$C$11:$F$11</c:f>
              <c:numCache>
                <c:formatCode>0.0</c:formatCode>
                <c:ptCount val="4"/>
                <c:pt idx="0">
                  <c:v>0.78684983049852752</c:v>
                </c:pt>
                <c:pt idx="1">
                  <c:v>0.50155975081629556</c:v>
                </c:pt>
                <c:pt idx="2">
                  <c:v>0.27549663024805232</c:v>
                </c:pt>
                <c:pt idx="3">
                  <c:v>0.2138379532827764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929-418C-BFC3-E3A7F8A42594}"/>
            </c:ext>
          </c:extLst>
        </c:ser>
        <c:ser>
          <c:idx val="1"/>
          <c:order val="1"/>
          <c:tx>
            <c:strRef>
              <c:f>θερμοκρασία!$B$12</c:f>
              <c:strCache>
                <c:ptCount val="1"/>
                <c:pt idx="0">
                  <c:v>Συντελεστής βαρύτητας μετεωρολογικής πρόβλεψης (β)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θερμοκρασία!$C$10:$F$10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</c:numCache>
            </c:numRef>
          </c:xVal>
          <c:yVal>
            <c:numRef>
              <c:f>θερμοκρασία!$C$12:$F$12</c:f>
              <c:numCache>
                <c:formatCode>0.0</c:formatCode>
                <c:ptCount val="4"/>
                <c:pt idx="0">
                  <c:v>0.16972589352653122</c:v>
                </c:pt>
                <c:pt idx="1">
                  <c:v>0.46749325338258918</c:v>
                </c:pt>
                <c:pt idx="2">
                  <c:v>0.65320714210897801</c:v>
                </c:pt>
                <c:pt idx="3">
                  <c:v>0.673717889514953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929-418C-BFC3-E3A7F8A425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4787712"/>
        <c:axId val="164789248"/>
      </c:scatterChart>
      <c:valAx>
        <c:axId val="164787712"/>
        <c:scaling>
          <c:orientation val="minMax"/>
          <c:max val="13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ΧΡΟΝΙΚΟ</a:t>
                </a:r>
                <a:r>
                  <a:rPr lang="el-GR" baseline="0"/>
                  <a:t> ΒΑΘΟΣ ΠΡΟΓΝΩΣΗΣ</a:t>
                </a:r>
                <a:endParaRPr lang="el-GR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4789248"/>
        <c:crosses val="autoZero"/>
        <c:crossBetween val="midCat"/>
        <c:majorUnit val="2"/>
      </c:valAx>
      <c:valAx>
        <c:axId val="164789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ΣΥΝΤΕΛΕΣΤΕΣ ΒΑΡΥΤΗΤΑΣ</a:t>
                </a:r>
                <a:r>
                  <a:rPr lang="el-GR" baseline="0"/>
                  <a:t> ΜΕΘΟΔΟΥ ΣΠΜ1</a:t>
                </a:r>
                <a:endParaRPr lang="el-GR"/>
              </a:p>
            </c:rich>
          </c:tx>
          <c:layout>
            <c:manualLayout>
              <c:xMode val="edge"/>
              <c:yMode val="edge"/>
              <c:x val="2.7612699493600491E-3"/>
              <c:y val="4.3115314955427503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.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478771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9661397287171263E-2"/>
          <c:y val="0.89820559412321976"/>
          <c:w val="0.84828974114290046"/>
          <c:h val="9.97100591136035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0070C0"/>
      </a:solidFill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7"/>
      <c:rotY val="13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2.528292800385264E-2"/>
          <c:y val="2.1150592216582064E-2"/>
          <c:w val="0.94522032265832068"/>
          <c:h val="0.87805601076515183"/>
        </c:manualLayout>
      </c:layout>
      <c:area3DChart>
        <c:grouping val="standard"/>
        <c:varyColors val="0"/>
        <c:ser>
          <c:idx val="0"/>
          <c:order val="0"/>
          <c:tx>
            <c:strRef>
              <c:f>temperature!$B$42</c:f>
              <c:strCache>
                <c:ptCount val="1"/>
                <c:pt idx="0">
                  <c:v>β</c:v>
                </c:pt>
              </c:strCache>
            </c:strRef>
          </c:tx>
          <c:spPr>
            <a:solidFill>
              <a:schemeClr val="accent1">
                <a:alpha val="35000"/>
              </a:schemeClr>
            </a:solidFill>
            <a:ln w="9525">
              <a:solidFill>
                <a:schemeClr val="accent1"/>
              </a:solidFill>
            </a:ln>
            <a:effectLst/>
            <a:sp3d contourW="9525">
              <a:contourClr>
                <a:schemeClr val="accent1"/>
              </a:contourClr>
            </a:sp3d>
          </c:spPr>
          <c:cat>
            <c:numRef>
              <c:f>temperature!$A$43:$A$46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</c:numCache>
            </c:numRef>
          </c:cat>
          <c:val>
            <c:numRef>
              <c:f>temperature!$B$43:$B$46</c:f>
              <c:numCache>
                <c:formatCode>0.0</c:formatCode>
                <c:ptCount val="4"/>
                <c:pt idx="0">
                  <c:v>0.15638544835006699</c:v>
                </c:pt>
                <c:pt idx="1">
                  <c:v>0.41171947237062723</c:v>
                </c:pt>
                <c:pt idx="2">
                  <c:v>0.56648531985448769</c:v>
                </c:pt>
                <c:pt idx="3">
                  <c:v>0.60073515390560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2E-469A-B1A4-509C8B2E70EA}"/>
            </c:ext>
          </c:extLst>
        </c:ser>
        <c:ser>
          <c:idx val="1"/>
          <c:order val="1"/>
          <c:tx>
            <c:strRef>
              <c:f>temperature!$C$42</c:f>
              <c:strCache>
                <c:ptCount val="1"/>
                <c:pt idx="0">
                  <c:v>α0</c:v>
                </c:pt>
              </c:strCache>
            </c:strRef>
          </c:tx>
          <c:spPr>
            <a:solidFill>
              <a:schemeClr val="accent2">
                <a:alpha val="35000"/>
              </a:schemeClr>
            </a:solidFill>
            <a:ln w="9525">
              <a:solidFill>
                <a:schemeClr val="accent2"/>
              </a:solidFill>
            </a:ln>
            <a:effectLst/>
            <a:sp3d contourW="9525">
              <a:contourClr>
                <a:schemeClr val="accent2"/>
              </a:contourClr>
            </a:sp3d>
          </c:spPr>
          <c:cat>
            <c:numRef>
              <c:f>temperature!$A$43:$A$46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</c:numCache>
            </c:numRef>
          </c:cat>
          <c:val>
            <c:numRef>
              <c:f>temperature!$C$43:$C$46</c:f>
              <c:numCache>
                <c:formatCode>0.0</c:formatCode>
                <c:ptCount val="4"/>
                <c:pt idx="0">
                  <c:v>0.73686980007111003</c:v>
                </c:pt>
                <c:pt idx="1">
                  <c:v>0.40142978531528933</c:v>
                </c:pt>
                <c:pt idx="2">
                  <c:v>0.14778748224112825</c:v>
                </c:pt>
                <c:pt idx="3">
                  <c:v>6.845719011038582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2E-469A-B1A4-509C8B2E70EA}"/>
            </c:ext>
          </c:extLst>
        </c:ser>
        <c:ser>
          <c:idx val="2"/>
          <c:order val="2"/>
          <c:tx>
            <c:strRef>
              <c:f>temperature!$D$42</c:f>
              <c:strCache>
                <c:ptCount val="1"/>
                <c:pt idx="0">
                  <c:v>α1</c:v>
                </c:pt>
              </c:strCache>
            </c:strRef>
          </c:tx>
          <c:spPr>
            <a:solidFill>
              <a:schemeClr val="accent3">
                <a:alpha val="35000"/>
              </a:schemeClr>
            </a:solidFill>
            <a:ln w="9525">
              <a:solidFill>
                <a:schemeClr val="accent3"/>
              </a:solidFill>
            </a:ln>
            <a:effectLst/>
            <a:sp3d contourW="9525">
              <a:contourClr>
                <a:schemeClr val="accent3"/>
              </a:contourClr>
            </a:sp3d>
          </c:spPr>
          <c:cat>
            <c:numRef>
              <c:f>temperature!$A$43:$A$46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</c:numCache>
            </c:numRef>
          </c:cat>
          <c:val>
            <c:numRef>
              <c:f>temperature!$D$43:$D$46</c:f>
              <c:numCache>
                <c:formatCode>0.0</c:formatCode>
                <c:ptCount val="4"/>
                <c:pt idx="0">
                  <c:v>5.2121502320608498E-2</c:v>
                </c:pt>
                <c:pt idx="1">
                  <c:v>3.4962797066232162E-2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2E-469A-B1A4-509C8B2E70EA}"/>
            </c:ext>
          </c:extLst>
        </c:ser>
        <c:ser>
          <c:idx val="3"/>
          <c:order val="3"/>
          <c:tx>
            <c:strRef>
              <c:f>temperature!$E$42</c:f>
              <c:strCache>
                <c:ptCount val="1"/>
                <c:pt idx="0">
                  <c:v>α2</c:v>
                </c:pt>
              </c:strCache>
            </c:strRef>
          </c:tx>
          <c:spPr>
            <a:solidFill>
              <a:schemeClr val="accent4">
                <a:alpha val="35000"/>
              </a:schemeClr>
            </a:solidFill>
            <a:ln w="9525">
              <a:solidFill>
                <a:schemeClr val="accent4"/>
              </a:solidFill>
            </a:ln>
            <a:effectLst/>
            <a:sp3d contourW="9525">
              <a:contourClr>
                <a:schemeClr val="accent4"/>
              </a:contourClr>
            </a:sp3d>
          </c:spPr>
          <c:cat>
            <c:numRef>
              <c:f>temperature!$A$43:$A$46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</c:numCache>
            </c:numRef>
          </c:cat>
          <c:val>
            <c:numRef>
              <c:f>temperature!$E$43:$E$46</c:f>
              <c:numCache>
                <c:formatCode>0.0</c:formatCode>
                <c:ptCount val="4"/>
                <c:pt idx="0">
                  <c:v>0</c:v>
                </c:pt>
                <c:pt idx="1">
                  <c:v>0.12064909520831096</c:v>
                </c:pt>
                <c:pt idx="2">
                  <c:v>0.10203972644827436</c:v>
                </c:pt>
                <c:pt idx="3">
                  <c:v>5.734311098746873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62E-469A-B1A4-509C8B2E70EA}"/>
            </c:ext>
          </c:extLst>
        </c:ser>
        <c:ser>
          <c:idx val="4"/>
          <c:order val="4"/>
          <c:tx>
            <c:strRef>
              <c:f>temperature!$F$42</c:f>
              <c:strCache>
                <c:ptCount val="1"/>
                <c:pt idx="0">
                  <c:v>α3</c:v>
                </c:pt>
              </c:strCache>
            </c:strRef>
          </c:tx>
          <c:spPr>
            <a:solidFill>
              <a:schemeClr val="accent5">
                <a:alpha val="35000"/>
              </a:schemeClr>
            </a:solidFill>
            <a:ln w="9525">
              <a:solidFill>
                <a:schemeClr val="accent5"/>
              </a:solidFill>
            </a:ln>
            <a:effectLst/>
            <a:sp3d contourW="9525">
              <a:contourClr>
                <a:schemeClr val="accent5"/>
              </a:contourClr>
            </a:sp3d>
          </c:spPr>
          <c:cat>
            <c:numRef>
              <c:f>temperature!$A$43:$A$46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</c:numCache>
            </c:numRef>
          </c:cat>
          <c:val>
            <c:numRef>
              <c:f>temperature!$F$43:$F$46</c:f>
              <c:numCache>
                <c:formatCode>0.0</c:formatCode>
                <c:ptCount val="4"/>
                <c:pt idx="0">
                  <c:v>0</c:v>
                </c:pt>
                <c:pt idx="1">
                  <c:v>0</c:v>
                </c:pt>
                <c:pt idx="2">
                  <c:v>8.2931638676703404E-2</c:v>
                </c:pt>
                <c:pt idx="3">
                  <c:v>0.15993584177547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62E-469A-B1A4-509C8B2E70EA}"/>
            </c:ext>
          </c:extLst>
        </c:ser>
        <c:ser>
          <c:idx val="5"/>
          <c:order val="5"/>
          <c:tx>
            <c:strRef>
              <c:f>temperature!$G$42</c:f>
              <c:strCache>
                <c:ptCount val="1"/>
                <c:pt idx="0">
                  <c:v>α4</c:v>
                </c:pt>
              </c:strCache>
            </c:strRef>
          </c:tx>
          <c:spPr>
            <a:solidFill>
              <a:schemeClr val="accent6">
                <a:alpha val="35000"/>
              </a:schemeClr>
            </a:solidFill>
            <a:ln w="9525">
              <a:solidFill>
                <a:schemeClr val="accent6"/>
              </a:solidFill>
            </a:ln>
            <a:effectLst/>
            <a:sp3d contourW="9525">
              <a:contourClr>
                <a:schemeClr val="accent6"/>
              </a:contourClr>
            </a:sp3d>
          </c:spPr>
          <c:cat>
            <c:numRef>
              <c:f>temperature!$A$43:$A$46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</c:numCache>
            </c:numRef>
          </c:cat>
          <c:val>
            <c:numRef>
              <c:f>temperature!$G$43:$G$46</c:f>
              <c:numCache>
                <c:formatCode>0.0</c:formatCode>
                <c:ptCount val="4"/>
                <c:pt idx="0">
                  <c:v>0</c:v>
                </c:pt>
                <c:pt idx="1">
                  <c:v>0</c:v>
                </c:pt>
                <c:pt idx="2">
                  <c:v>7.0404817405414169E-2</c:v>
                </c:pt>
                <c:pt idx="3">
                  <c:v>6.129023486183052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62E-469A-B1A4-509C8B2E70EA}"/>
            </c:ext>
          </c:extLst>
        </c:ser>
        <c:ser>
          <c:idx val="6"/>
          <c:order val="6"/>
          <c:tx>
            <c:strRef>
              <c:f>temperature!$H$42</c:f>
              <c:strCache>
                <c:ptCount val="1"/>
                <c:pt idx="0">
                  <c:v>α5</c:v>
                </c:pt>
              </c:strCache>
            </c:strRef>
          </c:tx>
          <c:spPr>
            <a:solidFill>
              <a:schemeClr val="accent1">
                <a:lumMod val="60000"/>
                <a:alpha val="35000"/>
              </a:schemeClr>
            </a:solidFill>
            <a:ln w="9525">
              <a:solidFill>
                <a:schemeClr val="accent1">
                  <a:lumMod val="60000"/>
                </a:schemeClr>
              </a:solidFill>
            </a:ln>
            <a:effectLst/>
            <a:sp3d contourW="9525">
              <a:contourClr>
                <a:schemeClr val="accent1">
                  <a:lumMod val="60000"/>
                </a:schemeClr>
              </a:contourClr>
            </a:sp3d>
          </c:spPr>
          <c:cat>
            <c:numRef>
              <c:f>temperature!$A$43:$A$46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</c:numCache>
            </c:numRef>
          </c:cat>
          <c:val>
            <c:numRef>
              <c:f>temperature!$H$43:$H$46</c:f>
              <c:numCache>
                <c:formatCode>0.0</c:formatCode>
                <c:ptCount val="4"/>
                <c:pt idx="0">
                  <c:v>0</c:v>
                </c:pt>
                <c:pt idx="1">
                  <c:v>0</c:v>
                </c:pt>
                <c:pt idx="2">
                  <c:v>9.7656034519985769E-3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62E-469A-B1A4-509C8B2E70EA}"/>
            </c:ext>
          </c:extLst>
        </c:ser>
        <c:ser>
          <c:idx val="7"/>
          <c:order val="7"/>
          <c:tx>
            <c:strRef>
              <c:f>temperature!$I$42</c:f>
              <c:strCache>
                <c:ptCount val="1"/>
                <c:pt idx="0">
                  <c:v>α6</c:v>
                </c:pt>
              </c:strCache>
            </c:strRef>
          </c:tx>
          <c:spPr>
            <a:solidFill>
              <a:schemeClr val="accent2">
                <a:lumMod val="60000"/>
                <a:alpha val="35000"/>
              </a:schemeClr>
            </a:solidFill>
            <a:ln w="9525">
              <a:solidFill>
                <a:schemeClr val="accent2">
                  <a:lumMod val="60000"/>
                </a:schemeClr>
              </a:solidFill>
            </a:ln>
            <a:effectLst/>
            <a:sp3d contourW="9525">
              <a:contourClr>
                <a:schemeClr val="accent2">
                  <a:lumMod val="60000"/>
                </a:schemeClr>
              </a:contourClr>
            </a:sp3d>
          </c:spPr>
          <c:cat>
            <c:numRef>
              <c:f>temperature!$A$43:$A$46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</c:numCache>
            </c:numRef>
          </c:cat>
          <c:val>
            <c:numRef>
              <c:f>temperature!$I$43:$I$46</c:f>
              <c:numCache>
                <c:formatCode>0.0</c:formatCode>
                <c:ptCount val="4"/>
                <c:pt idx="0">
                  <c:v>0</c:v>
                </c:pt>
                <c:pt idx="1">
                  <c:v>2.3758376877147849E-2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62E-469A-B1A4-509C8B2E70EA}"/>
            </c:ext>
          </c:extLst>
        </c:ser>
        <c:ser>
          <c:idx val="8"/>
          <c:order val="8"/>
          <c:tx>
            <c:strRef>
              <c:f>temperature!$J$42</c:f>
              <c:strCache>
                <c:ptCount val="1"/>
                <c:pt idx="0">
                  <c:v>α7</c:v>
                </c:pt>
              </c:strCache>
            </c:strRef>
          </c:tx>
          <c:spPr>
            <a:solidFill>
              <a:schemeClr val="accent3">
                <a:lumMod val="60000"/>
                <a:alpha val="35000"/>
              </a:schemeClr>
            </a:solidFill>
            <a:ln w="9525">
              <a:solidFill>
                <a:schemeClr val="accent3">
                  <a:lumMod val="60000"/>
                </a:schemeClr>
              </a:solidFill>
            </a:ln>
            <a:effectLst/>
            <a:sp3d contourW="9525">
              <a:contourClr>
                <a:schemeClr val="accent3">
                  <a:lumMod val="60000"/>
                </a:schemeClr>
              </a:contourClr>
            </a:sp3d>
          </c:spPr>
          <c:cat>
            <c:numRef>
              <c:f>temperature!$A$43:$A$46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</c:numCache>
            </c:numRef>
          </c:cat>
          <c:val>
            <c:numRef>
              <c:f>temperature!$J$43:$J$46</c:f>
              <c:numCache>
                <c:formatCode>0.0</c:formatCode>
                <c:ptCount val="4"/>
                <c:pt idx="0">
                  <c:v>1.9181725045010683E-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62E-469A-B1A4-509C8B2E70EA}"/>
            </c:ext>
          </c:extLst>
        </c:ser>
        <c:ser>
          <c:idx val="9"/>
          <c:order val="9"/>
          <c:tx>
            <c:strRef>
              <c:f>temperature!$K$42</c:f>
              <c:strCache>
                <c:ptCount val="1"/>
                <c:pt idx="0">
                  <c:v>α8</c:v>
                </c:pt>
              </c:strCache>
            </c:strRef>
          </c:tx>
          <c:spPr>
            <a:solidFill>
              <a:schemeClr val="accent4">
                <a:lumMod val="60000"/>
                <a:alpha val="35000"/>
              </a:schemeClr>
            </a:solidFill>
            <a:ln w="9525">
              <a:solidFill>
                <a:schemeClr val="accent4">
                  <a:lumMod val="60000"/>
                </a:schemeClr>
              </a:solidFill>
            </a:ln>
            <a:effectLst/>
            <a:sp3d contourW="9525">
              <a:contourClr>
                <a:schemeClr val="accent4">
                  <a:lumMod val="60000"/>
                </a:schemeClr>
              </a:contourClr>
            </a:sp3d>
          </c:spPr>
          <c:cat>
            <c:numRef>
              <c:f>temperature!$A$43:$A$46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</c:numCache>
            </c:numRef>
          </c:cat>
          <c:val>
            <c:numRef>
              <c:f>temperature!$K$43:$K$46</c:f>
              <c:numCache>
                <c:formatCode>0.0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62E-469A-B1A4-509C8B2E70EA}"/>
            </c:ext>
          </c:extLst>
        </c:ser>
        <c:ser>
          <c:idx val="10"/>
          <c:order val="10"/>
          <c:tx>
            <c:strRef>
              <c:f>temperature!$L$42</c:f>
              <c:strCache>
                <c:ptCount val="1"/>
                <c:pt idx="0">
                  <c:v>α9</c:v>
                </c:pt>
              </c:strCache>
            </c:strRef>
          </c:tx>
          <c:spPr>
            <a:solidFill>
              <a:schemeClr val="accent5">
                <a:lumMod val="60000"/>
                <a:alpha val="35000"/>
              </a:schemeClr>
            </a:solidFill>
            <a:ln w="9525">
              <a:solidFill>
                <a:schemeClr val="accent5">
                  <a:lumMod val="60000"/>
                </a:schemeClr>
              </a:solidFill>
            </a:ln>
            <a:effectLst/>
            <a:sp3d contourW="9525">
              <a:contourClr>
                <a:schemeClr val="accent5">
                  <a:lumMod val="60000"/>
                </a:schemeClr>
              </a:contourClr>
            </a:sp3d>
          </c:spPr>
          <c:cat>
            <c:numRef>
              <c:f>temperature!$A$43:$A$46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</c:numCache>
            </c:numRef>
          </c:cat>
          <c:val>
            <c:numRef>
              <c:f>temperature!$L$43:$L$46</c:f>
              <c:numCache>
                <c:formatCode>0.0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62E-469A-B1A4-509C8B2E70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5818368"/>
        <c:axId val="165819904"/>
        <c:axId val="165332288"/>
      </c:area3DChart>
      <c:catAx>
        <c:axId val="165818368"/>
        <c:scaling>
          <c:orientation val="maxMin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>
            <a:solidFill>
              <a:schemeClr val="tx1">
                <a:lumMod val="5000"/>
                <a:lumOff val="9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5819904"/>
        <c:crosses val="autoZero"/>
        <c:auto val="1"/>
        <c:lblAlgn val="ctr"/>
        <c:lblOffset val="100"/>
        <c:noMultiLvlLbl val="0"/>
      </c:catAx>
      <c:valAx>
        <c:axId val="1658199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0.0" sourceLinked="1"/>
        <c:majorTickMark val="out"/>
        <c:minorTickMark val="none"/>
        <c:tickLblPos val="nextTo"/>
        <c:spPr>
          <a:noFill/>
          <a:ln w="9525">
            <a:solidFill>
              <a:schemeClr val="tx1">
                <a:lumMod val="5000"/>
                <a:lumOff val="9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5818368"/>
        <c:crosses val="autoZero"/>
        <c:crossBetween val="midCat"/>
      </c:valAx>
      <c:serAx>
        <c:axId val="165332288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"/>
                <a:lumOff val="9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5819904"/>
        <c:crosses val="autoZero"/>
      </c:serAx>
      <c:spPr>
        <a:noFill/>
        <a:ln>
          <a:noFill/>
        </a:ln>
        <a:effectLst/>
      </c:spPr>
    </c:plotArea>
    <c:plotVisOnly val="1"/>
    <c:dispBlanksAs val="zero"/>
    <c:showDLblsOverMax val="0"/>
  </c:chart>
  <c:spPr>
    <a:solidFill>
      <a:schemeClr val="bg1"/>
    </a:solidFill>
    <a:ln w="9525" cap="flat" cmpd="sng" algn="ctr">
      <a:solidFill>
        <a:schemeClr val="accent6">
          <a:lumMod val="75000"/>
        </a:schemeClr>
      </a:solidFill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07048027293547"/>
          <c:y val="7.9151334896697387E-2"/>
          <c:w val="0.84998185270509496"/>
          <c:h val="0.65908180968904451"/>
        </c:manualLayout>
      </c:layout>
      <c:scatterChart>
        <c:scatterStyle val="lineMarker"/>
        <c:varyColors val="0"/>
        <c:ser>
          <c:idx val="0"/>
          <c:order val="0"/>
          <c:tx>
            <c:strRef>
              <c:f>θερμοκρασία!$AI$6</c:f>
              <c:strCache>
                <c:ptCount val="1"/>
                <c:pt idx="0">
                  <c:v>Συντελεστής βαρύτητας αναλογικού μοντέλου (α)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θερμοκρασία!$AJ$5:$AM$5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</c:numCache>
            </c:numRef>
          </c:xVal>
          <c:yVal>
            <c:numRef>
              <c:f>θερμοκρασία!$AJ$6:$AM$6</c:f>
              <c:numCache>
                <c:formatCode>0.0</c:formatCode>
                <c:ptCount val="4"/>
                <c:pt idx="0">
                  <c:v>1.1005191547705431</c:v>
                </c:pt>
                <c:pt idx="1">
                  <c:v>0.75655920603781324</c:v>
                </c:pt>
                <c:pt idx="2">
                  <c:v>0.44040300874978433</c:v>
                </c:pt>
                <c:pt idx="3">
                  <c:v>0.4150765212028539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FA7-45A2-AF4F-5D272CE867B8}"/>
            </c:ext>
          </c:extLst>
        </c:ser>
        <c:ser>
          <c:idx val="1"/>
          <c:order val="1"/>
          <c:tx>
            <c:strRef>
              <c:f>θερμοκρασία!$AI$7</c:f>
              <c:strCache>
                <c:ptCount val="1"/>
                <c:pt idx="0">
                  <c:v>Συντελεστής βαρύτητας μετεωρολογική πρόβλεψης (β)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θερμοκρασία!$AJ$5:$AM$5</c:f>
              <c:numCache>
                <c:formatCode>General</c:formatCode>
                <c:ptCount val="4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</c:numCache>
            </c:numRef>
          </c:xVal>
          <c:yVal>
            <c:numRef>
              <c:f>θερμοκρασία!$AJ$7:$AM$7</c:f>
              <c:numCache>
                <c:formatCode>0.0</c:formatCode>
                <c:ptCount val="4"/>
                <c:pt idx="0">
                  <c:v>0</c:v>
                </c:pt>
                <c:pt idx="1">
                  <c:v>0.30958135872322112</c:v>
                </c:pt>
                <c:pt idx="2">
                  <c:v>0.55927806900966726</c:v>
                </c:pt>
                <c:pt idx="3">
                  <c:v>0.5550666909402741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FA7-45A2-AF4F-5D272CE867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5904384"/>
        <c:axId val="165906304"/>
      </c:scatterChart>
      <c:valAx>
        <c:axId val="165904384"/>
        <c:scaling>
          <c:orientation val="minMax"/>
          <c:max val="13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ΧΡΟΝΙΚΟ</a:t>
                </a:r>
                <a:r>
                  <a:rPr lang="el-GR" baseline="0"/>
                  <a:t> ΒΑΘΟΣ ΠΡΟΓΝΩΣΗΣ</a:t>
                </a:r>
                <a:endParaRPr lang="el-GR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5906304"/>
        <c:crosses val="autoZero"/>
        <c:crossBetween val="midCat"/>
        <c:majorUnit val="2"/>
      </c:valAx>
      <c:valAx>
        <c:axId val="1659063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ΣΥΝΤΕΛΕΣΤΕΣ ΒΑΡΥΤΗΤΑΣ</a:t>
                </a:r>
                <a:r>
                  <a:rPr lang="el-GR" baseline="0"/>
                  <a:t> ΜΕΘΟΔΟΥ ΣΠΑΜ</a:t>
                </a:r>
                <a:endParaRPr lang="el-GR"/>
              </a:p>
            </c:rich>
          </c:tx>
          <c:layout>
            <c:manualLayout>
              <c:xMode val="edge"/>
              <c:yMode val="edge"/>
              <c:x val="9.6992963555085163E-3"/>
              <c:y val="4.2853250393735422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.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5904384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5007586326283341E-2"/>
          <c:y val="0.88091773441276155"/>
          <c:w val="0.91381933342158772"/>
          <c:h val="0.119082265587237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990099"/>
      </a:solidFill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136245309813047"/>
          <c:y val="2.1283723558476641E-2"/>
          <c:w val="0.87335461889801791"/>
          <c:h val="0.76340281258093579"/>
        </c:manualLayout>
      </c:layout>
      <c:scatterChart>
        <c:scatterStyle val="lineMarker"/>
        <c:varyColors val="0"/>
        <c:ser>
          <c:idx val="0"/>
          <c:order val="0"/>
          <c:tx>
            <c:strRef>
              <c:f>'Συγκριτικά 2'!$A$3</c:f>
              <c:strCache>
                <c:ptCount val="1"/>
                <c:pt idx="0">
                  <c:v>Ατμοσφαιρική πίεση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xVal>
            <c:numRef>
              <c:f>'Συγκριτικά 2'!$B$2:$I$2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Συγκριτικά 2'!$B$3:$I$3</c:f>
              <c:numCache>
                <c:formatCode>General</c:formatCode>
                <c:ptCount val="8"/>
                <c:pt idx="0">
                  <c:v>0.93359327849945561</c:v>
                </c:pt>
                <c:pt idx="1">
                  <c:v>0.89030892925515026</c:v>
                </c:pt>
                <c:pt idx="2">
                  <c:v>0.83291861231905973</c:v>
                </c:pt>
                <c:pt idx="3">
                  <c:v>0.76463815786075262</c:v>
                </c:pt>
                <c:pt idx="4">
                  <c:v>0.69016925981443522</c:v>
                </c:pt>
                <c:pt idx="5">
                  <c:v>0.6138995407419946</c:v>
                </c:pt>
                <c:pt idx="6">
                  <c:v>0.53921048914799785</c:v>
                </c:pt>
                <c:pt idx="7">
                  <c:v>0.4908117126474104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2A5-4759-A8FA-F715B576796F}"/>
            </c:ext>
          </c:extLst>
        </c:ser>
        <c:ser>
          <c:idx val="1"/>
          <c:order val="1"/>
          <c:tx>
            <c:strRef>
              <c:f>'Συγκριτικά 2'!$A$4</c:f>
              <c:strCache>
                <c:ptCount val="1"/>
                <c:pt idx="0">
                  <c:v>Θερμοκρασία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xVal>
            <c:numRef>
              <c:f>'Συγκριτικά 2'!$B$2:$I$2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Συγκριτικά 2'!$B$4:$I$4</c:f>
              <c:numCache>
                <c:formatCode>General</c:formatCode>
                <c:ptCount val="8"/>
                <c:pt idx="0">
                  <c:v>0.82973261331010728</c:v>
                </c:pt>
                <c:pt idx="1">
                  <c:v>0.70994934246826835</c:v>
                </c:pt>
                <c:pt idx="2">
                  <c:v>0.63419001795119911</c:v>
                </c:pt>
                <c:pt idx="3">
                  <c:v>0.5880824806107624</c:v>
                </c:pt>
                <c:pt idx="4">
                  <c:v>0.55696402399203349</c:v>
                </c:pt>
                <c:pt idx="5">
                  <c:v>0.53269052687596141</c:v>
                </c:pt>
                <c:pt idx="6">
                  <c:v>0.5083201692921534</c:v>
                </c:pt>
                <c:pt idx="7">
                  <c:v>0.474777570583077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2A5-4759-A8FA-F715B576796F}"/>
            </c:ext>
          </c:extLst>
        </c:ser>
        <c:ser>
          <c:idx val="2"/>
          <c:order val="2"/>
          <c:tx>
            <c:strRef>
              <c:f>'Συγκριτικά 2'!$A$5</c:f>
              <c:strCache>
                <c:ptCount val="1"/>
                <c:pt idx="0">
                  <c:v>Σχετική υγρασία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xVal>
            <c:numRef>
              <c:f>'Συγκριτικά 2'!$B$2:$I$2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Συγκριτικά 2'!$B$5:$I$5</c:f>
              <c:numCache>
                <c:formatCode>General</c:formatCode>
                <c:ptCount val="8"/>
                <c:pt idx="0">
                  <c:v>0.63042820850796355</c:v>
                </c:pt>
                <c:pt idx="1">
                  <c:v>0.47112109267966118</c:v>
                </c:pt>
                <c:pt idx="2">
                  <c:v>0.3772047987865505</c:v>
                </c:pt>
                <c:pt idx="3">
                  <c:v>0.3167995521963517</c:v>
                </c:pt>
                <c:pt idx="4">
                  <c:v>0.27200279866141608</c:v>
                </c:pt>
                <c:pt idx="5">
                  <c:v>0.23876168762871539</c:v>
                </c:pt>
                <c:pt idx="6">
                  <c:v>0.20917526380498797</c:v>
                </c:pt>
                <c:pt idx="7">
                  <c:v>0.1786633467934138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22A5-4759-A8FA-F715B576796F}"/>
            </c:ext>
          </c:extLst>
        </c:ser>
        <c:ser>
          <c:idx val="3"/>
          <c:order val="3"/>
          <c:tx>
            <c:strRef>
              <c:f>'Συγκριτικά 2'!$A$6</c:f>
              <c:strCache>
                <c:ptCount val="1"/>
                <c:pt idx="0">
                  <c:v>Ταχύτητα ανέμου</c:v>
                </c:pt>
              </c:strCache>
            </c:strRef>
          </c:tx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x"/>
            <c:size val="6"/>
            <c:spPr>
              <a:noFill/>
              <a:ln w="9525">
                <a:solidFill>
                  <a:schemeClr val="accent4"/>
                </a:solidFill>
                <a:round/>
              </a:ln>
              <a:effectLst/>
            </c:spPr>
          </c:marker>
          <c:xVal>
            <c:numRef>
              <c:f>'Συγκριτικά 2'!$B$2:$I$2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Συγκριτικά 2'!$B$6:$I$6</c:f>
              <c:numCache>
                <c:formatCode>General</c:formatCode>
                <c:ptCount val="8"/>
                <c:pt idx="0">
                  <c:v>0.47756468362113058</c:v>
                </c:pt>
                <c:pt idx="1">
                  <c:v>0.32371099967027223</c:v>
                </c:pt>
                <c:pt idx="2">
                  <c:v>0.24307665205823581</c:v>
                </c:pt>
                <c:pt idx="3">
                  <c:v>0.1908520326697617</c:v>
                </c:pt>
                <c:pt idx="4">
                  <c:v>0.15281756371054811</c:v>
                </c:pt>
                <c:pt idx="5">
                  <c:v>0.12559453066860468</c:v>
                </c:pt>
                <c:pt idx="6">
                  <c:v>0.10498290642417142</c:v>
                </c:pt>
                <c:pt idx="7">
                  <c:v>8.3617835911946228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22A5-4759-A8FA-F715B576796F}"/>
            </c:ext>
          </c:extLst>
        </c:ser>
        <c:ser>
          <c:idx val="4"/>
          <c:order val="4"/>
          <c:tx>
            <c:strRef>
              <c:f>'Συγκριτικά 2'!$A$7</c:f>
              <c:strCache>
                <c:ptCount val="1"/>
                <c:pt idx="0">
                  <c:v>Συνολική κατακρήμνιση</c:v>
                </c:pt>
              </c:strCache>
            </c:strRef>
          </c:tx>
          <c:spPr>
            <a:ln w="22225" cap="rnd">
              <a:solidFill>
                <a:schemeClr val="accent5"/>
              </a:solidFill>
              <a:round/>
            </a:ln>
            <a:effectLst/>
          </c:spPr>
          <c:marker>
            <c:symbol val="star"/>
            <c:size val="6"/>
            <c:spPr>
              <a:noFill/>
              <a:ln w="9525">
                <a:solidFill>
                  <a:schemeClr val="accent5"/>
                </a:solidFill>
                <a:round/>
              </a:ln>
              <a:effectLst/>
            </c:spPr>
          </c:marker>
          <c:xVal>
            <c:numRef>
              <c:f>'Συγκριτικά 2'!$B$2:$I$2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Συγκριτικά 2'!$B$7:$I$7</c:f>
              <c:numCache>
                <c:formatCode>General</c:formatCode>
                <c:ptCount val="8"/>
                <c:pt idx="0">
                  <c:v>0.1836842292810357</c:v>
                </c:pt>
                <c:pt idx="1">
                  <c:v>9.1802758606827406E-2</c:v>
                </c:pt>
                <c:pt idx="2">
                  <c:v>4.7042344433265826E-2</c:v>
                </c:pt>
                <c:pt idx="3">
                  <c:v>1.2158454159870932E-2</c:v>
                </c:pt>
                <c:pt idx="4">
                  <c:v>4.4759848079065625E-3</c:v>
                </c:pt>
                <c:pt idx="5">
                  <c:v>2.8751974316872952E-3</c:v>
                </c:pt>
                <c:pt idx="6">
                  <c:v>1.8990242980688739E-3</c:v>
                </c:pt>
                <c:pt idx="7">
                  <c:v>1.0049613848310823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22A5-4759-A8FA-F715B57679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6901248"/>
        <c:axId val="166903168"/>
      </c:scatterChart>
      <c:valAx>
        <c:axId val="166901248"/>
        <c:scaling>
          <c:orientation val="minMax"/>
          <c:max val="2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ΧΡΟΝΙΚΟ ΒΑΘΟΣ ΠΡΟΓΝΩΣΗΣ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el-G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6903168"/>
        <c:crosses val="autoZero"/>
        <c:crossBetween val="midCat"/>
        <c:majorUnit val="4"/>
      </c:valAx>
      <c:valAx>
        <c:axId val="166903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ΣΥΝΤΕΛΕΣΤΗΣ ΑΠΟΔΟΣΗΣ </a:t>
                </a:r>
                <a:r>
                  <a:rPr lang="en-US"/>
                  <a:t>NASH-SUTCLIFFE</a:t>
                </a:r>
                <a:endParaRPr lang="el-GR"/>
              </a:p>
            </c:rich>
          </c:tx>
          <c:layout>
            <c:manualLayout>
              <c:xMode val="edge"/>
              <c:yMode val="edge"/>
              <c:x val="1.4447387430772935E-2"/>
              <c:y val="3.4173430158052118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lang="el-G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690124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1004093426438721E-2"/>
          <c:y val="0.8964941962348687"/>
          <c:w val="0.98039971105225066"/>
          <c:h val="0.103505803765131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ysClr val="window" lastClr="FFFFFF"/>
    </a:solidFill>
    <a:ln>
      <a:solidFill>
        <a:srgbClr val="B2B2B2"/>
      </a:solidFill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4">
    <c:autoUpdate val="0"/>
  </c:externalData>
  <c:userShapes r:id="rId5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789379551810405E-2"/>
          <c:y val="1.7668509521416225E-2"/>
          <c:w val="0.84714671132903385"/>
          <c:h val="0.84497832875785628"/>
        </c:manualLayout>
      </c:layout>
      <c:scatterChart>
        <c:scatterStyle val="lineMarker"/>
        <c:varyColors val="0"/>
        <c:ser>
          <c:idx val="0"/>
          <c:order val="0"/>
          <c:tx>
            <c:strRef>
              <c:f>Θερμοκρασία!$N$2</c:f>
              <c:strCache>
                <c:ptCount val="1"/>
                <c:pt idx="0">
                  <c:v>μέτρηση </c:v>
                </c:pt>
              </c:strCache>
            </c:strRef>
          </c:tx>
          <c:spPr>
            <a:ln w="19050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xVal>
            <c:numRef>
              <c:f>Θερμοκρασία!$M$3:$M$138</c:f>
              <c:numCache>
                <c:formatCode>d/m/yy\ h:mm;@</c:formatCode>
                <c:ptCount val="136"/>
                <c:pt idx="0">
                  <c:v>38336</c:v>
                </c:pt>
                <c:pt idx="1">
                  <c:v>38336.124999999993</c:v>
                </c:pt>
                <c:pt idx="2">
                  <c:v>38336.25</c:v>
                </c:pt>
                <c:pt idx="3">
                  <c:v>38336.375</c:v>
                </c:pt>
                <c:pt idx="4">
                  <c:v>38336.5</c:v>
                </c:pt>
                <c:pt idx="5">
                  <c:v>38336.624999999993</c:v>
                </c:pt>
                <c:pt idx="6">
                  <c:v>38336.75</c:v>
                </c:pt>
                <c:pt idx="7">
                  <c:v>38336.875</c:v>
                </c:pt>
                <c:pt idx="8">
                  <c:v>38337</c:v>
                </c:pt>
                <c:pt idx="9">
                  <c:v>38337.124999999993</c:v>
                </c:pt>
                <c:pt idx="10">
                  <c:v>38337.25</c:v>
                </c:pt>
                <c:pt idx="11">
                  <c:v>38337.375</c:v>
                </c:pt>
                <c:pt idx="12">
                  <c:v>38337.5</c:v>
                </c:pt>
                <c:pt idx="13">
                  <c:v>38337.624999999993</c:v>
                </c:pt>
                <c:pt idx="14">
                  <c:v>38337.75</c:v>
                </c:pt>
                <c:pt idx="15">
                  <c:v>38337.875</c:v>
                </c:pt>
                <c:pt idx="16">
                  <c:v>38338</c:v>
                </c:pt>
                <c:pt idx="17">
                  <c:v>38338.124999999993</c:v>
                </c:pt>
                <c:pt idx="18">
                  <c:v>38338.25</c:v>
                </c:pt>
                <c:pt idx="19">
                  <c:v>38338.375</c:v>
                </c:pt>
                <c:pt idx="20">
                  <c:v>38338.5</c:v>
                </c:pt>
                <c:pt idx="21">
                  <c:v>38338.624999999993</c:v>
                </c:pt>
                <c:pt idx="22">
                  <c:v>38338.75</c:v>
                </c:pt>
                <c:pt idx="23">
                  <c:v>38338.875</c:v>
                </c:pt>
                <c:pt idx="24">
                  <c:v>38339</c:v>
                </c:pt>
                <c:pt idx="25">
                  <c:v>38339.124999999993</c:v>
                </c:pt>
                <c:pt idx="26">
                  <c:v>38339.25</c:v>
                </c:pt>
                <c:pt idx="27">
                  <c:v>38339.375</c:v>
                </c:pt>
                <c:pt idx="28">
                  <c:v>38339.5</c:v>
                </c:pt>
                <c:pt idx="29">
                  <c:v>38339.624999999993</c:v>
                </c:pt>
                <c:pt idx="30">
                  <c:v>38339.75</c:v>
                </c:pt>
                <c:pt idx="31">
                  <c:v>38339.875</c:v>
                </c:pt>
                <c:pt idx="32">
                  <c:v>38340</c:v>
                </c:pt>
                <c:pt idx="33">
                  <c:v>38340.124999999993</c:v>
                </c:pt>
                <c:pt idx="34">
                  <c:v>38340.25</c:v>
                </c:pt>
                <c:pt idx="35">
                  <c:v>38340.375</c:v>
                </c:pt>
                <c:pt idx="36">
                  <c:v>38340.5</c:v>
                </c:pt>
                <c:pt idx="37">
                  <c:v>38340.624999999993</c:v>
                </c:pt>
                <c:pt idx="38">
                  <c:v>38340.75</c:v>
                </c:pt>
                <c:pt idx="39">
                  <c:v>38340.875</c:v>
                </c:pt>
                <c:pt idx="40">
                  <c:v>38341</c:v>
                </c:pt>
                <c:pt idx="41">
                  <c:v>38341.124999999993</c:v>
                </c:pt>
                <c:pt idx="42">
                  <c:v>38341.25</c:v>
                </c:pt>
                <c:pt idx="43">
                  <c:v>38341.375</c:v>
                </c:pt>
                <c:pt idx="44">
                  <c:v>38341.5</c:v>
                </c:pt>
                <c:pt idx="45">
                  <c:v>38341.624999999993</c:v>
                </c:pt>
                <c:pt idx="46">
                  <c:v>38341.75</c:v>
                </c:pt>
                <c:pt idx="47">
                  <c:v>38341.875</c:v>
                </c:pt>
                <c:pt idx="48">
                  <c:v>38342</c:v>
                </c:pt>
                <c:pt idx="49">
                  <c:v>38342.124999999993</c:v>
                </c:pt>
                <c:pt idx="50">
                  <c:v>38342.25</c:v>
                </c:pt>
                <c:pt idx="51">
                  <c:v>38342.375</c:v>
                </c:pt>
                <c:pt idx="52">
                  <c:v>38342.5</c:v>
                </c:pt>
                <c:pt idx="53">
                  <c:v>38342.624999999993</c:v>
                </c:pt>
                <c:pt idx="54">
                  <c:v>38342.75</c:v>
                </c:pt>
                <c:pt idx="55">
                  <c:v>38342.875</c:v>
                </c:pt>
                <c:pt idx="56">
                  <c:v>38343</c:v>
                </c:pt>
                <c:pt idx="57">
                  <c:v>38343.124999999993</c:v>
                </c:pt>
                <c:pt idx="58">
                  <c:v>38343.25</c:v>
                </c:pt>
                <c:pt idx="59">
                  <c:v>38343.375</c:v>
                </c:pt>
                <c:pt idx="60">
                  <c:v>38343.5</c:v>
                </c:pt>
                <c:pt idx="61">
                  <c:v>38343.624999999993</c:v>
                </c:pt>
                <c:pt idx="62">
                  <c:v>38343.75</c:v>
                </c:pt>
                <c:pt idx="63">
                  <c:v>38343.875</c:v>
                </c:pt>
                <c:pt idx="64">
                  <c:v>38344</c:v>
                </c:pt>
                <c:pt idx="65">
                  <c:v>38344.124999999993</c:v>
                </c:pt>
                <c:pt idx="66">
                  <c:v>38344.25</c:v>
                </c:pt>
                <c:pt idx="67">
                  <c:v>38344.375</c:v>
                </c:pt>
                <c:pt idx="68">
                  <c:v>38344.5</c:v>
                </c:pt>
                <c:pt idx="69">
                  <c:v>38344.624999999993</c:v>
                </c:pt>
                <c:pt idx="70">
                  <c:v>38344.75</c:v>
                </c:pt>
                <c:pt idx="71">
                  <c:v>38344.875</c:v>
                </c:pt>
                <c:pt idx="72">
                  <c:v>38345</c:v>
                </c:pt>
                <c:pt idx="73">
                  <c:v>38345.124999999993</c:v>
                </c:pt>
                <c:pt idx="74">
                  <c:v>38345.25</c:v>
                </c:pt>
                <c:pt idx="75">
                  <c:v>38345.375</c:v>
                </c:pt>
                <c:pt idx="76">
                  <c:v>38345.5</c:v>
                </c:pt>
                <c:pt idx="77">
                  <c:v>38345.624999999993</c:v>
                </c:pt>
                <c:pt idx="78">
                  <c:v>38345.75</c:v>
                </c:pt>
                <c:pt idx="79">
                  <c:v>38345.875</c:v>
                </c:pt>
                <c:pt idx="80">
                  <c:v>38346</c:v>
                </c:pt>
                <c:pt idx="81">
                  <c:v>38346.124999999993</c:v>
                </c:pt>
                <c:pt idx="82">
                  <c:v>38346.25</c:v>
                </c:pt>
                <c:pt idx="83">
                  <c:v>38346.375</c:v>
                </c:pt>
                <c:pt idx="84">
                  <c:v>38346.5</c:v>
                </c:pt>
                <c:pt idx="85">
                  <c:v>38346.624999999993</c:v>
                </c:pt>
                <c:pt idx="86">
                  <c:v>38346.75</c:v>
                </c:pt>
                <c:pt idx="87">
                  <c:v>38346.875</c:v>
                </c:pt>
                <c:pt idx="88">
                  <c:v>38347</c:v>
                </c:pt>
                <c:pt idx="89">
                  <c:v>38347.124999999993</c:v>
                </c:pt>
                <c:pt idx="90">
                  <c:v>38347.25</c:v>
                </c:pt>
                <c:pt idx="91">
                  <c:v>38347.375</c:v>
                </c:pt>
                <c:pt idx="92">
                  <c:v>38347.5</c:v>
                </c:pt>
                <c:pt idx="93">
                  <c:v>38347.624999999993</c:v>
                </c:pt>
                <c:pt idx="94">
                  <c:v>38347.75</c:v>
                </c:pt>
                <c:pt idx="95">
                  <c:v>38347.875</c:v>
                </c:pt>
                <c:pt idx="96">
                  <c:v>38348</c:v>
                </c:pt>
                <c:pt idx="97">
                  <c:v>38348.124999999993</c:v>
                </c:pt>
                <c:pt idx="98">
                  <c:v>38348.25</c:v>
                </c:pt>
                <c:pt idx="99">
                  <c:v>38348.375</c:v>
                </c:pt>
                <c:pt idx="100">
                  <c:v>38348.5</c:v>
                </c:pt>
                <c:pt idx="101">
                  <c:v>38348.624999999993</c:v>
                </c:pt>
                <c:pt idx="102">
                  <c:v>38348.75</c:v>
                </c:pt>
                <c:pt idx="103">
                  <c:v>38348.875</c:v>
                </c:pt>
                <c:pt idx="104">
                  <c:v>38349</c:v>
                </c:pt>
                <c:pt idx="105">
                  <c:v>38349.124999999993</c:v>
                </c:pt>
                <c:pt idx="106">
                  <c:v>38349.25</c:v>
                </c:pt>
                <c:pt idx="107">
                  <c:v>38349.375</c:v>
                </c:pt>
                <c:pt idx="108">
                  <c:v>38349.5</c:v>
                </c:pt>
                <c:pt idx="109">
                  <c:v>38349.624999999993</c:v>
                </c:pt>
                <c:pt idx="110">
                  <c:v>38349.75</c:v>
                </c:pt>
                <c:pt idx="111">
                  <c:v>38349.875</c:v>
                </c:pt>
                <c:pt idx="112">
                  <c:v>38350</c:v>
                </c:pt>
                <c:pt idx="113">
                  <c:v>38350.124999999993</c:v>
                </c:pt>
                <c:pt idx="114">
                  <c:v>38350.25</c:v>
                </c:pt>
                <c:pt idx="115">
                  <c:v>38350.375</c:v>
                </c:pt>
                <c:pt idx="116">
                  <c:v>38350.5</c:v>
                </c:pt>
                <c:pt idx="117">
                  <c:v>38350.624999999993</c:v>
                </c:pt>
                <c:pt idx="118">
                  <c:v>38350.75</c:v>
                </c:pt>
                <c:pt idx="119">
                  <c:v>38350.875</c:v>
                </c:pt>
                <c:pt idx="120">
                  <c:v>38351</c:v>
                </c:pt>
                <c:pt idx="121">
                  <c:v>38351.124999999993</c:v>
                </c:pt>
                <c:pt idx="122">
                  <c:v>38351.25</c:v>
                </c:pt>
                <c:pt idx="123">
                  <c:v>38351.375</c:v>
                </c:pt>
                <c:pt idx="124">
                  <c:v>38351.5</c:v>
                </c:pt>
                <c:pt idx="125">
                  <c:v>38351.624999999993</c:v>
                </c:pt>
                <c:pt idx="126">
                  <c:v>38351.75</c:v>
                </c:pt>
                <c:pt idx="127">
                  <c:v>38351.875</c:v>
                </c:pt>
                <c:pt idx="128">
                  <c:v>38352</c:v>
                </c:pt>
                <c:pt idx="129">
                  <c:v>38352.124999999993</c:v>
                </c:pt>
                <c:pt idx="130">
                  <c:v>38352.25</c:v>
                </c:pt>
                <c:pt idx="131">
                  <c:v>38352.375</c:v>
                </c:pt>
                <c:pt idx="132">
                  <c:v>38352.5</c:v>
                </c:pt>
                <c:pt idx="133">
                  <c:v>38352.624999999993</c:v>
                </c:pt>
                <c:pt idx="134">
                  <c:v>38352.75</c:v>
                </c:pt>
                <c:pt idx="135">
                  <c:v>38352.875</c:v>
                </c:pt>
              </c:numCache>
            </c:numRef>
          </c:xVal>
          <c:yVal>
            <c:numRef>
              <c:f>Θερμοκρασία!$N$3:$N$138</c:f>
              <c:numCache>
                <c:formatCode>General</c:formatCode>
                <c:ptCount val="136"/>
                <c:pt idx="0">
                  <c:v>-0.27067713553174921</c:v>
                </c:pt>
                <c:pt idx="1">
                  <c:v>-0.14158423127763245</c:v>
                </c:pt>
                <c:pt idx="2">
                  <c:v>-0.17637456112233726</c:v>
                </c:pt>
                <c:pt idx="3">
                  <c:v>-0.79503077480628626</c:v>
                </c:pt>
                <c:pt idx="4">
                  <c:v>-1.0586386916865533</c:v>
                </c:pt>
                <c:pt idx="5">
                  <c:v>-1.0133528460588641</c:v>
                </c:pt>
                <c:pt idx="6">
                  <c:v>-1.0797976725651726</c:v>
                </c:pt>
                <c:pt idx="7">
                  <c:v>-1.7858795528750258</c:v>
                </c:pt>
                <c:pt idx="8">
                  <c:v>-1.2872949929332618</c:v>
                </c:pt>
                <c:pt idx="9">
                  <c:v>-1.8046480373840539</c:v>
                </c:pt>
                <c:pt idx="10">
                  <c:v>-1.4039609150136958</c:v>
                </c:pt>
                <c:pt idx="11">
                  <c:v>-0.73654859143542073</c:v>
                </c:pt>
                <c:pt idx="12">
                  <c:v>-0.65769578563730802</c:v>
                </c:pt>
                <c:pt idx="13">
                  <c:v>-0.89380728224462802</c:v>
                </c:pt>
                <c:pt idx="14">
                  <c:v>-0.84109463084748692</c:v>
                </c:pt>
                <c:pt idx="15">
                  <c:v>-0.80007547860798622</c:v>
                </c:pt>
                <c:pt idx="16">
                  <c:v>-0.66602852452122674</c:v>
                </c:pt>
                <c:pt idx="17">
                  <c:v>-0.52963245270246351</c:v>
                </c:pt>
                <c:pt idx="18">
                  <c:v>0.10262233748933609</c:v>
                </c:pt>
                <c:pt idx="19">
                  <c:v>-0.26869112446849774</c:v>
                </c:pt>
                <c:pt idx="20">
                  <c:v>-0.19947532158102543</c:v>
                </c:pt>
                <c:pt idx="21">
                  <c:v>-0.11676111745209697</c:v>
                </c:pt>
                <c:pt idx="22">
                  <c:v>0.35242057774096602</c:v>
                </c:pt>
                <c:pt idx="23">
                  <c:v>1.1715326699261028</c:v>
                </c:pt>
                <c:pt idx="24">
                  <c:v>1.141292110859242</c:v>
                </c:pt>
                <c:pt idx="25">
                  <c:v>0.91168951258976993</c:v>
                </c:pt>
                <c:pt idx="26">
                  <c:v>1.3302086913806979</c:v>
                </c:pt>
                <c:pt idx="27">
                  <c:v>0.31613070924015463</c:v>
                </c:pt>
                <c:pt idx="28">
                  <c:v>0.1441900264611867</c:v>
                </c:pt>
                <c:pt idx="29">
                  <c:v>0.83960339306178888</c:v>
                </c:pt>
                <c:pt idx="30">
                  <c:v>0.71047514031749992</c:v>
                </c:pt>
                <c:pt idx="31">
                  <c:v>1.0555557200123304</c:v>
                </c:pt>
                <c:pt idx="32">
                  <c:v>1.3107284204261604</c:v>
                </c:pt>
                <c:pt idx="33">
                  <c:v>1.6323504952358849</c:v>
                </c:pt>
                <c:pt idx="34">
                  <c:v>0.93961303332435664</c:v>
                </c:pt>
                <c:pt idx="35">
                  <c:v>0.60854162609448315</c:v>
                </c:pt>
                <c:pt idx="36">
                  <c:v>0.65968804852450613</c:v>
                </c:pt>
                <c:pt idx="37">
                  <c:v>-0.23630668126633284</c:v>
                </c:pt>
                <c:pt idx="38">
                  <c:v>0.17339329645269783</c:v>
                </c:pt>
                <c:pt idx="39">
                  <c:v>-0.39415615390979175</c:v>
                </c:pt>
                <c:pt idx="40">
                  <c:v>-0.72250729437686645</c:v>
                </c:pt>
                <c:pt idx="41">
                  <c:v>-0.25245515168472699</c:v>
                </c:pt>
                <c:pt idx="42">
                  <c:v>0.10262233748933609</c:v>
                </c:pt>
                <c:pt idx="43">
                  <c:v>0.43309507598188535</c:v>
                </c:pt>
                <c:pt idx="44">
                  <c:v>0.43057781649636284</c:v>
                </c:pt>
                <c:pt idx="45">
                  <c:v>0.30164835589772787</c:v>
                </c:pt>
                <c:pt idx="46">
                  <c:v>-0.30401278698268397</c:v>
                </c:pt>
                <c:pt idx="47">
                  <c:v>0.24371707061594244</c:v>
                </c:pt>
                <c:pt idx="48">
                  <c:v>0.57650441230284655</c:v>
                </c:pt>
                <c:pt idx="49">
                  <c:v>0.68994767177558036</c:v>
                </c:pt>
                <c:pt idx="50">
                  <c:v>0.54901737526801353</c:v>
                </c:pt>
                <c:pt idx="51">
                  <c:v>0.66702380946534678</c:v>
                </c:pt>
                <c:pt idx="52">
                  <c:v>0.60241049051746831</c:v>
                </c:pt>
                <c:pt idx="53">
                  <c:v>0.77983061115467289</c:v>
                </c:pt>
                <c:pt idx="54">
                  <c:v>0.23306905688211998</c:v>
                </c:pt>
                <c:pt idx="55">
                  <c:v>0.18572859565905769</c:v>
                </c:pt>
                <c:pt idx="56">
                  <c:v>6.8195483602088394E-2</c:v>
                </c:pt>
                <c:pt idx="57">
                  <c:v>0.13559306974010496</c:v>
                </c:pt>
                <c:pt idx="58">
                  <c:v>0.158421717211671</c:v>
                </c:pt>
                <c:pt idx="59">
                  <c:v>-0.26869112446849774</c:v>
                </c:pt>
                <c:pt idx="60">
                  <c:v>-0.65769578563730802</c:v>
                </c:pt>
                <c:pt idx="61">
                  <c:v>-0.59494337270903908</c:v>
                </c:pt>
                <c:pt idx="62">
                  <c:v>-0.4233643078415284</c:v>
                </c:pt>
                <c:pt idx="63">
                  <c:v>-0.27817920399602108</c:v>
                </c:pt>
                <c:pt idx="64">
                  <c:v>-0.49659221495430861</c:v>
                </c:pt>
                <c:pt idx="65">
                  <c:v>-0.19701969148118012</c:v>
                </c:pt>
                <c:pt idx="66">
                  <c:v>-8.9764219553328754E-3</c:v>
                </c:pt>
                <c:pt idx="67">
                  <c:v>-0.61958422469369145</c:v>
                </c:pt>
                <c:pt idx="68">
                  <c:v>-0.31403043759509497</c:v>
                </c:pt>
                <c:pt idx="69">
                  <c:v>-0.71448893652327616</c:v>
                </c:pt>
                <c:pt idx="70">
                  <c:v>-0.60239158912979562</c:v>
                </c:pt>
                <c:pt idx="71">
                  <c:v>-0.56812157878044534</c:v>
                </c:pt>
                <c:pt idx="72">
                  <c:v>-0.49659221495430861</c:v>
                </c:pt>
                <c:pt idx="73">
                  <c:v>-0.36332607209182294</c:v>
                </c:pt>
                <c:pt idx="74">
                  <c:v>-1.3481615352913661</c:v>
                </c:pt>
                <c:pt idx="75">
                  <c:v>-0.79503077480628626</c:v>
                </c:pt>
                <c:pt idx="76">
                  <c:v>-0.42858555360916617</c:v>
                </c:pt>
                <c:pt idx="77">
                  <c:v>-0.17653389935921493</c:v>
                </c:pt>
                <c:pt idx="78">
                  <c:v>-1.2588249538534402</c:v>
                </c:pt>
                <c:pt idx="79">
                  <c:v>-1.2639832782630636</c:v>
                </c:pt>
                <c:pt idx="80">
                  <c:v>-1.1743374532219841</c:v>
                </c:pt>
                <c:pt idx="81">
                  <c:v>-1.3611643557556716</c:v>
                </c:pt>
                <c:pt idx="82">
                  <c:v>-1.4039609150136958</c:v>
                </c:pt>
                <c:pt idx="83">
                  <c:v>0.14068415912755822</c:v>
                </c:pt>
                <c:pt idx="84">
                  <c:v>-0.14219776357398942</c:v>
                </c:pt>
                <c:pt idx="85">
                  <c:v>2.7844463621388782E-3</c:v>
                </c:pt>
                <c:pt idx="86">
                  <c:v>-0.72174310998864011</c:v>
                </c:pt>
                <c:pt idx="87">
                  <c:v>-0.27817920399602108</c:v>
                </c:pt>
                <c:pt idx="88">
                  <c:v>0.294110563024649</c:v>
                </c:pt>
                <c:pt idx="89">
                  <c:v>1.1334313534039557</c:v>
                </c:pt>
                <c:pt idx="90">
                  <c:v>1.2744093116583639</c:v>
                </c:pt>
                <c:pt idx="91">
                  <c:v>0.72550599283621087</c:v>
                </c:pt>
                <c:pt idx="92">
                  <c:v>0.31602270048229303</c:v>
                </c:pt>
                <c:pt idx="93">
                  <c:v>0.77983061115467289</c:v>
                </c:pt>
                <c:pt idx="94">
                  <c:v>1.3072327446117276</c:v>
                </c:pt>
                <c:pt idx="95">
                  <c:v>1.5194635196674078</c:v>
                </c:pt>
                <c:pt idx="96">
                  <c:v>1.7625585792712823</c:v>
                </c:pt>
                <c:pt idx="97">
                  <c:v>1.7986568758465291</c:v>
                </c:pt>
                <c:pt idx="98">
                  <c:v>1.888202488604046</c:v>
                </c:pt>
                <c:pt idx="99">
                  <c:v>1.7781852935117861</c:v>
                </c:pt>
                <c:pt idx="100">
                  <c:v>1.1179085125807855</c:v>
                </c:pt>
                <c:pt idx="101">
                  <c:v>1.1982400845044947</c:v>
                </c:pt>
                <c:pt idx="102">
                  <c:v>1.4862600258999916</c:v>
                </c:pt>
                <c:pt idx="103">
                  <c:v>1.287509619839867</c:v>
                </c:pt>
                <c:pt idx="104">
                  <c:v>1.141292110859242</c:v>
                </c:pt>
                <c:pt idx="105">
                  <c:v>1.5214795748287901</c:v>
                </c:pt>
                <c:pt idx="106">
                  <c:v>1.5534062102700348</c:v>
                </c:pt>
                <c:pt idx="107">
                  <c:v>1.134881276432268</c:v>
                </c:pt>
                <c:pt idx="108">
                  <c:v>0.77424316453857711</c:v>
                </c:pt>
                <c:pt idx="109">
                  <c:v>0.60051226543331659</c:v>
                </c:pt>
                <c:pt idx="110">
                  <c:v>1.3072327446117276</c:v>
                </c:pt>
                <c:pt idx="111">
                  <c:v>1.5194635196674078</c:v>
                </c:pt>
                <c:pt idx="112">
                  <c:v>1.4236859601374399</c:v>
                </c:pt>
                <c:pt idx="113">
                  <c:v>1.0779958932004079</c:v>
                </c:pt>
                <c:pt idx="114">
                  <c:v>1.3302086913806979</c:v>
                </c:pt>
                <c:pt idx="115">
                  <c:v>-9.3244574355903068E-2</c:v>
                </c:pt>
                <c:pt idx="116">
                  <c:v>-0.42858555360916617</c:v>
                </c:pt>
                <c:pt idx="117">
                  <c:v>2.7844463621388782E-3</c:v>
                </c:pt>
                <c:pt idx="118">
                  <c:v>-0.4233643078415284</c:v>
                </c:pt>
                <c:pt idx="119">
                  <c:v>-0.51013310382356059</c:v>
                </c:pt>
                <c:pt idx="120">
                  <c:v>-0.72250729437686645</c:v>
                </c:pt>
                <c:pt idx="121">
                  <c:v>-0.41876153229536905</c:v>
                </c:pt>
                <c:pt idx="122">
                  <c:v>0.27002047665634082</c:v>
                </c:pt>
                <c:pt idx="123">
                  <c:v>-9.3244574355903068E-2</c:v>
                </c:pt>
                <c:pt idx="124">
                  <c:v>-0.60041822763027164</c:v>
                </c:pt>
                <c:pt idx="125">
                  <c:v>-0.47539780889480504</c:v>
                </c:pt>
                <c:pt idx="126">
                  <c:v>-0.12498550569441515</c:v>
                </c:pt>
                <c:pt idx="127">
                  <c:v>-0.10421377912536658</c:v>
                </c:pt>
                <c:pt idx="128">
                  <c:v>0.40706810273592658</c:v>
                </c:pt>
                <c:pt idx="129">
                  <c:v>0.13559306974010496</c:v>
                </c:pt>
                <c:pt idx="130">
                  <c:v>0.158421717211671</c:v>
                </c:pt>
                <c:pt idx="131">
                  <c:v>-1.0289595082897471</c:v>
                </c:pt>
                <c:pt idx="132">
                  <c:v>-0.77225090165137833</c:v>
                </c:pt>
                <c:pt idx="133">
                  <c:v>-1.0731256279659818</c:v>
                </c:pt>
                <c:pt idx="134">
                  <c:v>-0.66206734955921787</c:v>
                </c:pt>
                <c:pt idx="135">
                  <c:v>-0.974040903478641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AB4-4656-B934-0952CA6B4099}"/>
            </c:ext>
          </c:extLst>
        </c:ser>
        <c:ser>
          <c:idx val="1"/>
          <c:order val="1"/>
          <c:tx>
            <c:strRef>
              <c:f>Θερμοκρασία!$O$2</c:f>
              <c:strCache>
                <c:ptCount val="1"/>
                <c:pt idx="0">
                  <c:v>3ωρη πρόγνωση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Θερμοκρασία!$M$3:$M$138</c:f>
              <c:numCache>
                <c:formatCode>d/m/yy\ h:mm;@</c:formatCode>
                <c:ptCount val="136"/>
                <c:pt idx="0">
                  <c:v>38336</c:v>
                </c:pt>
                <c:pt idx="1">
                  <c:v>38336.124999999993</c:v>
                </c:pt>
                <c:pt idx="2">
                  <c:v>38336.25</c:v>
                </c:pt>
                <c:pt idx="3">
                  <c:v>38336.375</c:v>
                </c:pt>
                <c:pt idx="4">
                  <c:v>38336.5</c:v>
                </c:pt>
                <c:pt idx="5">
                  <c:v>38336.624999999993</c:v>
                </c:pt>
                <c:pt idx="6">
                  <c:v>38336.75</c:v>
                </c:pt>
                <c:pt idx="7">
                  <c:v>38336.875</c:v>
                </c:pt>
                <c:pt idx="8">
                  <c:v>38337</c:v>
                </c:pt>
                <c:pt idx="9">
                  <c:v>38337.124999999993</c:v>
                </c:pt>
                <c:pt idx="10">
                  <c:v>38337.25</c:v>
                </c:pt>
                <c:pt idx="11">
                  <c:v>38337.375</c:v>
                </c:pt>
                <c:pt idx="12">
                  <c:v>38337.5</c:v>
                </c:pt>
                <c:pt idx="13">
                  <c:v>38337.624999999993</c:v>
                </c:pt>
                <c:pt idx="14">
                  <c:v>38337.75</c:v>
                </c:pt>
                <c:pt idx="15">
                  <c:v>38337.875</c:v>
                </c:pt>
                <c:pt idx="16">
                  <c:v>38338</c:v>
                </c:pt>
                <c:pt idx="17">
                  <c:v>38338.124999999993</c:v>
                </c:pt>
                <c:pt idx="18">
                  <c:v>38338.25</c:v>
                </c:pt>
                <c:pt idx="19">
                  <c:v>38338.375</c:v>
                </c:pt>
                <c:pt idx="20">
                  <c:v>38338.5</c:v>
                </c:pt>
                <c:pt idx="21">
                  <c:v>38338.624999999993</c:v>
                </c:pt>
                <c:pt idx="22">
                  <c:v>38338.75</c:v>
                </c:pt>
                <c:pt idx="23">
                  <c:v>38338.875</c:v>
                </c:pt>
                <c:pt idx="24">
                  <c:v>38339</c:v>
                </c:pt>
                <c:pt idx="25">
                  <c:v>38339.124999999993</c:v>
                </c:pt>
                <c:pt idx="26">
                  <c:v>38339.25</c:v>
                </c:pt>
                <c:pt idx="27">
                  <c:v>38339.375</c:v>
                </c:pt>
                <c:pt idx="28">
                  <c:v>38339.5</c:v>
                </c:pt>
                <c:pt idx="29">
                  <c:v>38339.624999999993</c:v>
                </c:pt>
                <c:pt idx="30">
                  <c:v>38339.75</c:v>
                </c:pt>
                <c:pt idx="31">
                  <c:v>38339.875</c:v>
                </c:pt>
                <c:pt idx="32">
                  <c:v>38340</c:v>
                </c:pt>
                <c:pt idx="33">
                  <c:v>38340.124999999993</c:v>
                </c:pt>
                <c:pt idx="34">
                  <c:v>38340.25</c:v>
                </c:pt>
                <c:pt idx="35">
                  <c:v>38340.375</c:v>
                </c:pt>
                <c:pt idx="36">
                  <c:v>38340.5</c:v>
                </c:pt>
                <c:pt idx="37">
                  <c:v>38340.624999999993</c:v>
                </c:pt>
                <c:pt idx="38">
                  <c:v>38340.75</c:v>
                </c:pt>
                <c:pt idx="39">
                  <c:v>38340.875</c:v>
                </c:pt>
                <c:pt idx="40">
                  <c:v>38341</c:v>
                </c:pt>
                <c:pt idx="41">
                  <c:v>38341.124999999993</c:v>
                </c:pt>
                <c:pt idx="42">
                  <c:v>38341.25</c:v>
                </c:pt>
                <c:pt idx="43">
                  <c:v>38341.375</c:v>
                </c:pt>
                <c:pt idx="44">
                  <c:v>38341.5</c:v>
                </c:pt>
                <c:pt idx="45">
                  <c:v>38341.624999999993</c:v>
                </c:pt>
                <c:pt idx="46">
                  <c:v>38341.75</c:v>
                </c:pt>
                <c:pt idx="47">
                  <c:v>38341.875</c:v>
                </c:pt>
                <c:pt idx="48">
                  <c:v>38342</c:v>
                </c:pt>
                <c:pt idx="49">
                  <c:v>38342.124999999993</c:v>
                </c:pt>
                <c:pt idx="50">
                  <c:v>38342.25</c:v>
                </c:pt>
                <c:pt idx="51">
                  <c:v>38342.375</c:v>
                </c:pt>
                <c:pt idx="52">
                  <c:v>38342.5</c:v>
                </c:pt>
                <c:pt idx="53">
                  <c:v>38342.624999999993</c:v>
                </c:pt>
                <c:pt idx="54">
                  <c:v>38342.75</c:v>
                </c:pt>
                <c:pt idx="55">
                  <c:v>38342.875</c:v>
                </c:pt>
                <c:pt idx="56">
                  <c:v>38343</c:v>
                </c:pt>
                <c:pt idx="57">
                  <c:v>38343.124999999993</c:v>
                </c:pt>
                <c:pt idx="58">
                  <c:v>38343.25</c:v>
                </c:pt>
                <c:pt idx="59">
                  <c:v>38343.375</c:v>
                </c:pt>
                <c:pt idx="60">
                  <c:v>38343.5</c:v>
                </c:pt>
                <c:pt idx="61">
                  <c:v>38343.624999999993</c:v>
                </c:pt>
                <c:pt idx="62">
                  <c:v>38343.75</c:v>
                </c:pt>
                <c:pt idx="63">
                  <c:v>38343.875</c:v>
                </c:pt>
                <c:pt idx="64">
                  <c:v>38344</c:v>
                </c:pt>
                <c:pt idx="65">
                  <c:v>38344.124999999993</c:v>
                </c:pt>
                <c:pt idx="66">
                  <c:v>38344.25</c:v>
                </c:pt>
                <c:pt idx="67">
                  <c:v>38344.375</c:v>
                </c:pt>
                <c:pt idx="68">
                  <c:v>38344.5</c:v>
                </c:pt>
                <c:pt idx="69">
                  <c:v>38344.624999999993</c:v>
                </c:pt>
                <c:pt idx="70">
                  <c:v>38344.75</c:v>
                </c:pt>
                <c:pt idx="71">
                  <c:v>38344.875</c:v>
                </c:pt>
                <c:pt idx="72">
                  <c:v>38345</c:v>
                </c:pt>
                <c:pt idx="73">
                  <c:v>38345.124999999993</c:v>
                </c:pt>
                <c:pt idx="74">
                  <c:v>38345.25</c:v>
                </c:pt>
                <c:pt idx="75">
                  <c:v>38345.375</c:v>
                </c:pt>
                <c:pt idx="76">
                  <c:v>38345.5</c:v>
                </c:pt>
                <c:pt idx="77">
                  <c:v>38345.624999999993</c:v>
                </c:pt>
                <c:pt idx="78">
                  <c:v>38345.75</c:v>
                </c:pt>
                <c:pt idx="79">
                  <c:v>38345.875</c:v>
                </c:pt>
                <c:pt idx="80">
                  <c:v>38346</c:v>
                </c:pt>
                <c:pt idx="81">
                  <c:v>38346.124999999993</c:v>
                </c:pt>
                <c:pt idx="82">
                  <c:v>38346.25</c:v>
                </c:pt>
                <c:pt idx="83">
                  <c:v>38346.375</c:v>
                </c:pt>
                <c:pt idx="84">
                  <c:v>38346.5</c:v>
                </c:pt>
                <c:pt idx="85">
                  <c:v>38346.624999999993</c:v>
                </c:pt>
                <c:pt idx="86">
                  <c:v>38346.75</c:v>
                </c:pt>
                <c:pt idx="87">
                  <c:v>38346.875</c:v>
                </c:pt>
                <c:pt idx="88">
                  <c:v>38347</c:v>
                </c:pt>
                <c:pt idx="89">
                  <c:v>38347.124999999993</c:v>
                </c:pt>
                <c:pt idx="90">
                  <c:v>38347.25</c:v>
                </c:pt>
                <c:pt idx="91">
                  <c:v>38347.375</c:v>
                </c:pt>
                <c:pt idx="92">
                  <c:v>38347.5</c:v>
                </c:pt>
                <c:pt idx="93">
                  <c:v>38347.624999999993</c:v>
                </c:pt>
                <c:pt idx="94">
                  <c:v>38347.75</c:v>
                </c:pt>
                <c:pt idx="95">
                  <c:v>38347.875</c:v>
                </c:pt>
                <c:pt idx="96">
                  <c:v>38348</c:v>
                </c:pt>
                <c:pt idx="97">
                  <c:v>38348.124999999993</c:v>
                </c:pt>
                <c:pt idx="98">
                  <c:v>38348.25</c:v>
                </c:pt>
                <c:pt idx="99">
                  <c:v>38348.375</c:v>
                </c:pt>
                <c:pt idx="100">
                  <c:v>38348.5</c:v>
                </c:pt>
                <c:pt idx="101">
                  <c:v>38348.624999999993</c:v>
                </c:pt>
                <c:pt idx="102">
                  <c:v>38348.75</c:v>
                </c:pt>
                <c:pt idx="103">
                  <c:v>38348.875</c:v>
                </c:pt>
                <c:pt idx="104">
                  <c:v>38349</c:v>
                </c:pt>
                <c:pt idx="105">
                  <c:v>38349.124999999993</c:v>
                </c:pt>
                <c:pt idx="106">
                  <c:v>38349.25</c:v>
                </c:pt>
                <c:pt idx="107">
                  <c:v>38349.375</c:v>
                </c:pt>
                <c:pt idx="108">
                  <c:v>38349.5</c:v>
                </c:pt>
                <c:pt idx="109">
                  <c:v>38349.624999999993</c:v>
                </c:pt>
                <c:pt idx="110">
                  <c:v>38349.75</c:v>
                </c:pt>
                <c:pt idx="111">
                  <c:v>38349.875</c:v>
                </c:pt>
                <c:pt idx="112">
                  <c:v>38350</c:v>
                </c:pt>
                <c:pt idx="113">
                  <c:v>38350.124999999993</c:v>
                </c:pt>
                <c:pt idx="114">
                  <c:v>38350.25</c:v>
                </c:pt>
                <c:pt idx="115">
                  <c:v>38350.375</c:v>
                </c:pt>
                <c:pt idx="116">
                  <c:v>38350.5</c:v>
                </c:pt>
                <c:pt idx="117">
                  <c:v>38350.624999999993</c:v>
                </c:pt>
                <c:pt idx="118">
                  <c:v>38350.75</c:v>
                </c:pt>
                <c:pt idx="119">
                  <c:v>38350.875</c:v>
                </c:pt>
                <c:pt idx="120">
                  <c:v>38351</c:v>
                </c:pt>
                <c:pt idx="121">
                  <c:v>38351.124999999993</c:v>
                </c:pt>
                <c:pt idx="122">
                  <c:v>38351.25</c:v>
                </c:pt>
                <c:pt idx="123">
                  <c:v>38351.375</c:v>
                </c:pt>
                <c:pt idx="124">
                  <c:v>38351.5</c:v>
                </c:pt>
                <c:pt idx="125">
                  <c:v>38351.624999999993</c:v>
                </c:pt>
                <c:pt idx="126">
                  <c:v>38351.75</c:v>
                </c:pt>
                <c:pt idx="127">
                  <c:v>38351.875</c:v>
                </c:pt>
                <c:pt idx="128">
                  <c:v>38352</c:v>
                </c:pt>
                <c:pt idx="129">
                  <c:v>38352.124999999993</c:v>
                </c:pt>
                <c:pt idx="130">
                  <c:v>38352.25</c:v>
                </c:pt>
                <c:pt idx="131">
                  <c:v>38352.375</c:v>
                </c:pt>
                <c:pt idx="132">
                  <c:v>38352.5</c:v>
                </c:pt>
                <c:pt idx="133">
                  <c:v>38352.624999999993</c:v>
                </c:pt>
                <c:pt idx="134">
                  <c:v>38352.75</c:v>
                </c:pt>
                <c:pt idx="135">
                  <c:v>38352.875</c:v>
                </c:pt>
              </c:numCache>
            </c:numRef>
          </c:xVal>
          <c:yVal>
            <c:numRef>
              <c:f>Θερμοκρασία!$O$3:$O$138</c:f>
              <c:numCache>
                <c:formatCode>General</c:formatCode>
                <c:ptCount val="136"/>
                <c:pt idx="0">
                  <c:v>-0.35351905937536582</c:v>
                </c:pt>
                <c:pt idx="1">
                  <c:v>-0.26593360861383625</c:v>
                </c:pt>
                <c:pt idx="2">
                  <c:v>-0.17778273021733768</c:v>
                </c:pt>
                <c:pt idx="3">
                  <c:v>-0.23048367941078385</c:v>
                </c:pt>
                <c:pt idx="4">
                  <c:v>-0.69979033547257441</c:v>
                </c:pt>
                <c:pt idx="5">
                  <c:v>-0.89971715721693757</c:v>
                </c:pt>
                <c:pt idx="6">
                  <c:v>-0.8539519031462236</c:v>
                </c:pt>
                <c:pt idx="7">
                  <c:v>-0.90178850182433756</c:v>
                </c:pt>
                <c:pt idx="8">
                  <c:v>-1.4731135953754158</c:v>
                </c:pt>
                <c:pt idx="9">
                  <c:v>-1.1055782928900528</c:v>
                </c:pt>
                <c:pt idx="10">
                  <c:v>-1.5827964503253975</c:v>
                </c:pt>
                <c:pt idx="11">
                  <c:v>-1.2794050745613541</c:v>
                </c:pt>
                <c:pt idx="12">
                  <c:v>-0.75207030773841277</c:v>
                </c:pt>
                <c:pt idx="13">
                  <c:v>-0.71689487584854428</c:v>
                </c:pt>
                <c:pt idx="14">
                  <c:v>-0.94946657215055752</c:v>
                </c:pt>
                <c:pt idx="15">
                  <c:v>-0.88401067980250259</c:v>
                </c:pt>
                <c:pt idx="16">
                  <c:v>-0.86276215273140788</c:v>
                </c:pt>
                <c:pt idx="17">
                  <c:v>-0.69191803667867657</c:v>
                </c:pt>
                <c:pt idx="18">
                  <c:v>-0.52962477532624586</c:v>
                </c:pt>
                <c:pt idx="19">
                  <c:v>-2.2953301110828848E-2</c:v>
                </c:pt>
                <c:pt idx="20">
                  <c:v>-0.33812558508052687</c:v>
                </c:pt>
                <c:pt idx="21">
                  <c:v>-0.2740638589326978</c:v>
                </c:pt>
                <c:pt idx="22">
                  <c:v>-0.19584576242902141</c:v>
                </c:pt>
                <c:pt idx="23">
                  <c:v>0.20986759104633032</c:v>
                </c:pt>
                <c:pt idx="24">
                  <c:v>0.90351544116968252</c:v>
                </c:pt>
                <c:pt idx="25">
                  <c:v>0.91359151177104159</c:v>
                </c:pt>
                <c:pt idx="26">
                  <c:v>0.70351408001339011</c:v>
                </c:pt>
                <c:pt idx="27">
                  <c:v>1.0581307928901922</c:v>
                </c:pt>
                <c:pt idx="28">
                  <c:v>0.28104811905532506</c:v>
                </c:pt>
                <c:pt idx="29">
                  <c:v>0.21537669377688121</c:v>
                </c:pt>
                <c:pt idx="30">
                  <c:v>0.83589781177648936</c:v>
                </c:pt>
                <c:pt idx="31">
                  <c:v>0.72605108743089608</c:v>
                </c:pt>
                <c:pt idx="32">
                  <c:v>0.98814734078618349</c:v>
                </c:pt>
                <c:pt idx="33">
                  <c:v>1.1789509715899733</c:v>
                </c:pt>
                <c:pt idx="34">
                  <c:v>1.3623235388255501</c:v>
                </c:pt>
                <c:pt idx="35">
                  <c:v>0.81872534346770365</c:v>
                </c:pt>
                <c:pt idx="36">
                  <c:v>0.606464438163691</c:v>
                </c:pt>
                <c:pt idx="37">
                  <c:v>0.65717744995856464</c:v>
                </c:pt>
                <c:pt idx="38">
                  <c:v>-2.1755123112852243E-2</c:v>
                </c:pt>
                <c:pt idx="39">
                  <c:v>0.33174790851062497</c:v>
                </c:pt>
                <c:pt idx="40">
                  <c:v>-0.13718169257419804</c:v>
                </c:pt>
                <c:pt idx="41">
                  <c:v>-0.47066931212850083</c:v>
                </c:pt>
                <c:pt idx="42">
                  <c:v>-0.13017362261183035</c:v>
                </c:pt>
                <c:pt idx="43">
                  <c:v>0.12718923548677899</c:v>
                </c:pt>
                <c:pt idx="44">
                  <c:v>0.33195540786445143</c:v>
                </c:pt>
                <c:pt idx="45">
                  <c:v>0.33147350354699817</c:v>
                </c:pt>
                <c:pt idx="46">
                  <c:v>0.17584616370671274</c:v>
                </c:pt>
                <c:pt idx="47">
                  <c:v>-0.31183744132452845</c:v>
                </c:pt>
                <c:pt idx="48">
                  <c:v>0.18849389491613752</c:v>
                </c:pt>
                <c:pt idx="49">
                  <c:v>0.49970146696876167</c:v>
                </c:pt>
                <c:pt idx="50">
                  <c:v>0.61504523023912205</c:v>
                </c:pt>
                <c:pt idx="51">
                  <c:v>0.48531892168940693</c:v>
                </c:pt>
                <c:pt idx="52">
                  <c:v>0.55245012695156659</c:v>
                </c:pt>
                <c:pt idx="53">
                  <c:v>0.48249937058746711</c:v>
                </c:pt>
                <c:pt idx="54">
                  <c:v>0.68558859980490316</c:v>
                </c:pt>
                <c:pt idx="55">
                  <c:v>0.27343285298742287</c:v>
                </c:pt>
                <c:pt idx="56">
                  <c:v>0.23986595537600633</c:v>
                </c:pt>
                <c:pt idx="57">
                  <c:v>0.13810936095730689</c:v>
                </c:pt>
                <c:pt idx="58">
                  <c:v>0.20186566975616249</c:v>
                </c:pt>
                <c:pt idx="59">
                  <c:v>0.21400505603924438</c:v>
                </c:pt>
                <c:pt idx="60">
                  <c:v>-0.14176708067844976</c:v>
                </c:pt>
                <c:pt idx="61">
                  <c:v>-0.50282288681594256</c:v>
                </c:pt>
                <c:pt idx="62">
                  <c:v>-0.46005061003127712</c:v>
                </c:pt>
                <c:pt idx="63">
                  <c:v>-0.32750768879913172</c:v>
                </c:pt>
                <c:pt idx="64">
                  <c:v>-0.21114036938808581</c:v>
                </c:pt>
                <c:pt idx="65">
                  <c:v>-0.41107646893010402</c:v>
                </c:pt>
                <c:pt idx="66">
                  <c:v>-0.21938704868742526</c:v>
                </c:pt>
                <c:pt idx="67">
                  <c:v>-9.2712843098079631E-2</c:v>
                </c:pt>
                <c:pt idx="68">
                  <c:v>-0.57033353863930281</c:v>
                </c:pt>
                <c:pt idx="69">
                  <c:v>-0.30743160097079952</c:v>
                </c:pt>
                <c:pt idx="70">
                  <c:v>-0.62382649714973881</c:v>
                </c:pt>
                <c:pt idx="71">
                  <c:v>-0.534129097447681</c:v>
                </c:pt>
                <c:pt idx="72">
                  <c:v>-0.484612700995454</c:v>
                </c:pt>
                <c:pt idx="73">
                  <c:v>-0.43421898973880263</c:v>
                </c:pt>
                <c:pt idx="74">
                  <c:v>-0.36790858342296118</c:v>
                </c:pt>
                <c:pt idx="75">
                  <c:v>-1.1543652857842694</c:v>
                </c:pt>
                <c:pt idx="76">
                  <c:v>-0.73412428551988695</c:v>
                </c:pt>
                <c:pt idx="77">
                  <c:v>-0.42691263388913397</c:v>
                </c:pt>
                <c:pt idx="78">
                  <c:v>-0.21544576550644284</c:v>
                </c:pt>
                <c:pt idx="79">
                  <c:v>-1.0934338713965301</c:v>
                </c:pt>
                <c:pt idx="80">
                  <c:v>-1.1218077610216461</c:v>
                </c:pt>
                <c:pt idx="81">
                  <c:v>-1.0964179644624592</c:v>
                </c:pt>
                <c:pt idx="82">
                  <c:v>-1.1829711809393997</c:v>
                </c:pt>
                <c:pt idx="83">
                  <c:v>-1.1953466296420781</c:v>
                </c:pt>
                <c:pt idx="84">
                  <c:v>2.2403605798233854E-2</c:v>
                </c:pt>
                <c:pt idx="85">
                  <c:v>-0.28995783275913811</c:v>
                </c:pt>
                <c:pt idx="86">
                  <c:v>-0.17250185068952928</c:v>
                </c:pt>
                <c:pt idx="87">
                  <c:v>-0.75902430334330473</c:v>
                </c:pt>
                <c:pt idx="88">
                  <c:v>-0.39211300367680857</c:v>
                </c:pt>
                <c:pt idx="89">
                  <c:v>0.1304265012351325</c:v>
                </c:pt>
                <c:pt idx="90">
                  <c:v>0.91925879450167769</c:v>
                </c:pt>
                <c:pt idx="91">
                  <c:v>1.0050962777846406</c:v>
                </c:pt>
                <c:pt idx="92">
                  <c:v>0.54874027584911489</c:v>
                </c:pt>
                <c:pt idx="93">
                  <c:v>0.19050660042794229</c:v>
                </c:pt>
                <c:pt idx="94">
                  <c:v>0.63919181876372189</c:v>
                </c:pt>
                <c:pt idx="95">
                  <c:v>1.1496363092080539</c:v>
                </c:pt>
                <c:pt idx="96">
                  <c:v>1.3842450160230411</c:v>
                </c:pt>
                <c:pt idx="97">
                  <c:v>1.5602037512281486</c:v>
                </c:pt>
                <c:pt idx="98">
                  <c:v>1.5354697211237764</c:v>
                </c:pt>
                <c:pt idx="99">
                  <c:v>1.6048670148377344</c:v>
                </c:pt>
                <c:pt idx="100">
                  <c:v>1.5797533860620099</c:v>
                </c:pt>
                <c:pt idx="101">
                  <c:v>1.1021622341574777</c:v>
                </c:pt>
                <c:pt idx="102">
                  <c:v>1.1951622587210713</c:v>
                </c:pt>
                <c:pt idx="103">
                  <c:v>1.4498171371026418</c:v>
                </c:pt>
                <c:pt idx="104">
                  <c:v>1.2944771153286041</c:v>
                </c:pt>
                <c:pt idx="105">
                  <c:v>1.1676839445446745</c:v>
                </c:pt>
                <c:pt idx="106">
                  <c:v>1.4376251978232437</c:v>
                </c:pt>
                <c:pt idx="107">
                  <c:v>1.4196616753098141</c:v>
                </c:pt>
                <c:pt idx="108">
                  <c:v>1.097873801027911</c:v>
                </c:pt>
                <c:pt idx="109">
                  <c:v>0.81833784062361703</c:v>
                </c:pt>
                <c:pt idx="110">
                  <c:v>0.66229187859072791</c:v>
                </c:pt>
                <c:pt idx="111">
                  <c:v>1.2384278079719149</c:v>
                </c:pt>
                <c:pt idx="112">
                  <c:v>1.434115470742034</c:v>
                </c:pt>
                <c:pt idx="113">
                  <c:v>1.3346946460650808</c:v>
                </c:pt>
                <c:pt idx="114">
                  <c:v>1.0037940704345594</c:v>
                </c:pt>
                <c:pt idx="115">
                  <c:v>1.1828316435233397</c:v>
                </c:pt>
                <c:pt idx="116">
                  <c:v>5.5731234800517275E-2</c:v>
                </c:pt>
                <c:pt idx="117">
                  <c:v>-0.15118930083511053</c:v>
                </c:pt>
                <c:pt idx="118">
                  <c:v>0.20356404401850628</c:v>
                </c:pt>
                <c:pt idx="119">
                  <c:v>-0.15903449728540536</c:v>
                </c:pt>
                <c:pt idx="120">
                  <c:v>-0.26874169676199899</c:v>
                </c:pt>
                <c:pt idx="121">
                  <c:v>-0.48925500849546266</c:v>
                </c:pt>
                <c:pt idx="122">
                  <c:v>-0.36428489170051948</c:v>
                </c:pt>
                <c:pt idx="123">
                  <c:v>0.17712006920290987</c:v>
                </c:pt>
                <c:pt idx="124">
                  <c:v>-0.1023789586300414</c:v>
                </c:pt>
                <c:pt idx="125">
                  <c:v>-0.5525935986837196</c:v>
                </c:pt>
                <c:pt idx="126">
                  <c:v>-0.46299326221626891</c:v>
                </c:pt>
                <c:pt idx="127">
                  <c:v>-0.17203130406877284</c:v>
                </c:pt>
                <c:pt idx="128">
                  <c:v>-0.10662724706183464</c:v>
                </c:pt>
                <c:pt idx="129">
                  <c:v>0.33558215129650604</c:v>
                </c:pt>
                <c:pt idx="130">
                  <c:v>6.7351624919216826E-2</c:v>
                </c:pt>
                <c:pt idx="131">
                  <c:v>5.7158715380757667E-2</c:v>
                </c:pt>
                <c:pt idx="132">
                  <c:v>-0.874983967633568</c:v>
                </c:pt>
                <c:pt idx="133">
                  <c:v>-0.63079261401226983</c:v>
                </c:pt>
                <c:pt idx="134">
                  <c:v>-0.85361066101106142</c:v>
                </c:pt>
                <c:pt idx="135">
                  <c:v>-0.493356836141396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AB4-4656-B934-0952CA6B4099}"/>
            </c:ext>
          </c:extLst>
        </c:ser>
        <c:ser>
          <c:idx val="2"/>
          <c:order val="2"/>
          <c:tx>
            <c:strRef>
              <c:f>Θερμοκρασία!$P$2</c:f>
              <c:strCache>
                <c:ptCount val="1"/>
                <c:pt idx="0">
                  <c:v>6ωρη πρόγνωση</c:v>
                </c:pt>
              </c:strCache>
            </c:strRef>
          </c:tx>
          <c:spPr>
            <a:ln w="190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xVal>
            <c:numRef>
              <c:f>Θερμοκρασία!$M$3:$M$138</c:f>
              <c:numCache>
                <c:formatCode>d/m/yy\ h:mm;@</c:formatCode>
                <c:ptCount val="136"/>
                <c:pt idx="0">
                  <c:v>38336</c:v>
                </c:pt>
                <c:pt idx="1">
                  <c:v>38336.124999999993</c:v>
                </c:pt>
                <c:pt idx="2">
                  <c:v>38336.25</c:v>
                </c:pt>
                <c:pt idx="3">
                  <c:v>38336.375</c:v>
                </c:pt>
                <c:pt idx="4">
                  <c:v>38336.5</c:v>
                </c:pt>
                <c:pt idx="5">
                  <c:v>38336.624999999993</c:v>
                </c:pt>
                <c:pt idx="6">
                  <c:v>38336.75</c:v>
                </c:pt>
                <c:pt idx="7">
                  <c:v>38336.875</c:v>
                </c:pt>
                <c:pt idx="8">
                  <c:v>38337</c:v>
                </c:pt>
                <c:pt idx="9">
                  <c:v>38337.124999999993</c:v>
                </c:pt>
                <c:pt idx="10">
                  <c:v>38337.25</c:v>
                </c:pt>
                <c:pt idx="11">
                  <c:v>38337.375</c:v>
                </c:pt>
                <c:pt idx="12">
                  <c:v>38337.5</c:v>
                </c:pt>
                <c:pt idx="13">
                  <c:v>38337.624999999993</c:v>
                </c:pt>
                <c:pt idx="14">
                  <c:v>38337.75</c:v>
                </c:pt>
                <c:pt idx="15">
                  <c:v>38337.875</c:v>
                </c:pt>
                <c:pt idx="16">
                  <c:v>38338</c:v>
                </c:pt>
                <c:pt idx="17">
                  <c:v>38338.124999999993</c:v>
                </c:pt>
                <c:pt idx="18">
                  <c:v>38338.25</c:v>
                </c:pt>
                <c:pt idx="19">
                  <c:v>38338.375</c:v>
                </c:pt>
                <c:pt idx="20">
                  <c:v>38338.5</c:v>
                </c:pt>
                <c:pt idx="21">
                  <c:v>38338.624999999993</c:v>
                </c:pt>
                <c:pt idx="22">
                  <c:v>38338.75</c:v>
                </c:pt>
                <c:pt idx="23">
                  <c:v>38338.875</c:v>
                </c:pt>
                <c:pt idx="24">
                  <c:v>38339</c:v>
                </c:pt>
                <c:pt idx="25">
                  <c:v>38339.124999999993</c:v>
                </c:pt>
                <c:pt idx="26">
                  <c:v>38339.25</c:v>
                </c:pt>
                <c:pt idx="27">
                  <c:v>38339.375</c:v>
                </c:pt>
                <c:pt idx="28">
                  <c:v>38339.5</c:v>
                </c:pt>
                <c:pt idx="29">
                  <c:v>38339.624999999993</c:v>
                </c:pt>
                <c:pt idx="30">
                  <c:v>38339.75</c:v>
                </c:pt>
                <c:pt idx="31">
                  <c:v>38339.875</c:v>
                </c:pt>
                <c:pt idx="32">
                  <c:v>38340</c:v>
                </c:pt>
                <c:pt idx="33">
                  <c:v>38340.124999999993</c:v>
                </c:pt>
                <c:pt idx="34">
                  <c:v>38340.25</c:v>
                </c:pt>
                <c:pt idx="35">
                  <c:v>38340.375</c:v>
                </c:pt>
                <c:pt idx="36">
                  <c:v>38340.5</c:v>
                </c:pt>
                <c:pt idx="37">
                  <c:v>38340.624999999993</c:v>
                </c:pt>
                <c:pt idx="38">
                  <c:v>38340.75</c:v>
                </c:pt>
                <c:pt idx="39">
                  <c:v>38340.875</c:v>
                </c:pt>
                <c:pt idx="40">
                  <c:v>38341</c:v>
                </c:pt>
                <c:pt idx="41">
                  <c:v>38341.124999999993</c:v>
                </c:pt>
                <c:pt idx="42">
                  <c:v>38341.25</c:v>
                </c:pt>
                <c:pt idx="43">
                  <c:v>38341.375</c:v>
                </c:pt>
                <c:pt idx="44">
                  <c:v>38341.5</c:v>
                </c:pt>
                <c:pt idx="45">
                  <c:v>38341.624999999993</c:v>
                </c:pt>
                <c:pt idx="46">
                  <c:v>38341.75</c:v>
                </c:pt>
                <c:pt idx="47">
                  <c:v>38341.875</c:v>
                </c:pt>
                <c:pt idx="48">
                  <c:v>38342</c:v>
                </c:pt>
                <c:pt idx="49">
                  <c:v>38342.124999999993</c:v>
                </c:pt>
                <c:pt idx="50">
                  <c:v>38342.25</c:v>
                </c:pt>
                <c:pt idx="51">
                  <c:v>38342.375</c:v>
                </c:pt>
                <c:pt idx="52">
                  <c:v>38342.5</c:v>
                </c:pt>
                <c:pt idx="53">
                  <c:v>38342.624999999993</c:v>
                </c:pt>
                <c:pt idx="54">
                  <c:v>38342.75</c:v>
                </c:pt>
                <c:pt idx="55">
                  <c:v>38342.875</c:v>
                </c:pt>
                <c:pt idx="56">
                  <c:v>38343</c:v>
                </c:pt>
                <c:pt idx="57">
                  <c:v>38343.124999999993</c:v>
                </c:pt>
                <c:pt idx="58">
                  <c:v>38343.25</c:v>
                </c:pt>
                <c:pt idx="59">
                  <c:v>38343.375</c:v>
                </c:pt>
                <c:pt idx="60">
                  <c:v>38343.5</c:v>
                </c:pt>
                <c:pt idx="61">
                  <c:v>38343.624999999993</c:v>
                </c:pt>
                <c:pt idx="62">
                  <c:v>38343.75</c:v>
                </c:pt>
                <c:pt idx="63">
                  <c:v>38343.875</c:v>
                </c:pt>
                <c:pt idx="64">
                  <c:v>38344</c:v>
                </c:pt>
                <c:pt idx="65">
                  <c:v>38344.124999999993</c:v>
                </c:pt>
                <c:pt idx="66">
                  <c:v>38344.25</c:v>
                </c:pt>
                <c:pt idx="67">
                  <c:v>38344.375</c:v>
                </c:pt>
                <c:pt idx="68">
                  <c:v>38344.5</c:v>
                </c:pt>
                <c:pt idx="69">
                  <c:v>38344.624999999993</c:v>
                </c:pt>
                <c:pt idx="70">
                  <c:v>38344.75</c:v>
                </c:pt>
                <c:pt idx="71">
                  <c:v>38344.875</c:v>
                </c:pt>
                <c:pt idx="72">
                  <c:v>38345</c:v>
                </c:pt>
                <c:pt idx="73">
                  <c:v>38345.124999999993</c:v>
                </c:pt>
                <c:pt idx="74">
                  <c:v>38345.25</c:v>
                </c:pt>
                <c:pt idx="75">
                  <c:v>38345.375</c:v>
                </c:pt>
                <c:pt idx="76">
                  <c:v>38345.5</c:v>
                </c:pt>
                <c:pt idx="77">
                  <c:v>38345.624999999993</c:v>
                </c:pt>
                <c:pt idx="78">
                  <c:v>38345.75</c:v>
                </c:pt>
                <c:pt idx="79">
                  <c:v>38345.875</c:v>
                </c:pt>
                <c:pt idx="80">
                  <c:v>38346</c:v>
                </c:pt>
                <c:pt idx="81">
                  <c:v>38346.124999999993</c:v>
                </c:pt>
                <c:pt idx="82">
                  <c:v>38346.25</c:v>
                </c:pt>
                <c:pt idx="83">
                  <c:v>38346.375</c:v>
                </c:pt>
                <c:pt idx="84">
                  <c:v>38346.5</c:v>
                </c:pt>
                <c:pt idx="85">
                  <c:v>38346.624999999993</c:v>
                </c:pt>
                <c:pt idx="86">
                  <c:v>38346.75</c:v>
                </c:pt>
                <c:pt idx="87">
                  <c:v>38346.875</c:v>
                </c:pt>
                <c:pt idx="88">
                  <c:v>38347</c:v>
                </c:pt>
                <c:pt idx="89">
                  <c:v>38347.124999999993</c:v>
                </c:pt>
                <c:pt idx="90">
                  <c:v>38347.25</c:v>
                </c:pt>
                <c:pt idx="91">
                  <c:v>38347.375</c:v>
                </c:pt>
                <c:pt idx="92">
                  <c:v>38347.5</c:v>
                </c:pt>
                <c:pt idx="93">
                  <c:v>38347.624999999993</c:v>
                </c:pt>
                <c:pt idx="94">
                  <c:v>38347.75</c:v>
                </c:pt>
                <c:pt idx="95">
                  <c:v>38347.875</c:v>
                </c:pt>
                <c:pt idx="96">
                  <c:v>38348</c:v>
                </c:pt>
                <c:pt idx="97">
                  <c:v>38348.124999999993</c:v>
                </c:pt>
                <c:pt idx="98">
                  <c:v>38348.25</c:v>
                </c:pt>
                <c:pt idx="99">
                  <c:v>38348.375</c:v>
                </c:pt>
                <c:pt idx="100">
                  <c:v>38348.5</c:v>
                </c:pt>
                <c:pt idx="101">
                  <c:v>38348.624999999993</c:v>
                </c:pt>
                <c:pt idx="102">
                  <c:v>38348.75</c:v>
                </c:pt>
                <c:pt idx="103">
                  <c:v>38348.875</c:v>
                </c:pt>
                <c:pt idx="104">
                  <c:v>38349</c:v>
                </c:pt>
                <c:pt idx="105">
                  <c:v>38349.124999999993</c:v>
                </c:pt>
                <c:pt idx="106">
                  <c:v>38349.25</c:v>
                </c:pt>
                <c:pt idx="107">
                  <c:v>38349.375</c:v>
                </c:pt>
                <c:pt idx="108">
                  <c:v>38349.5</c:v>
                </c:pt>
                <c:pt idx="109">
                  <c:v>38349.624999999993</c:v>
                </c:pt>
                <c:pt idx="110">
                  <c:v>38349.75</c:v>
                </c:pt>
                <c:pt idx="111">
                  <c:v>38349.875</c:v>
                </c:pt>
                <c:pt idx="112">
                  <c:v>38350</c:v>
                </c:pt>
                <c:pt idx="113">
                  <c:v>38350.124999999993</c:v>
                </c:pt>
                <c:pt idx="114">
                  <c:v>38350.25</c:v>
                </c:pt>
                <c:pt idx="115">
                  <c:v>38350.375</c:v>
                </c:pt>
                <c:pt idx="116">
                  <c:v>38350.5</c:v>
                </c:pt>
                <c:pt idx="117">
                  <c:v>38350.624999999993</c:v>
                </c:pt>
                <c:pt idx="118">
                  <c:v>38350.75</c:v>
                </c:pt>
                <c:pt idx="119">
                  <c:v>38350.875</c:v>
                </c:pt>
                <c:pt idx="120">
                  <c:v>38351</c:v>
                </c:pt>
                <c:pt idx="121">
                  <c:v>38351.124999999993</c:v>
                </c:pt>
                <c:pt idx="122">
                  <c:v>38351.25</c:v>
                </c:pt>
                <c:pt idx="123">
                  <c:v>38351.375</c:v>
                </c:pt>
                <c:pt idx="124">
                  <c:v>38351.5</c:v>
                </c:pt>
                <c:pt idx="125">
                  <c:v>38351.624999999993</c:v>
                </c:pt>
                <c:pt idx="126">
                  <c:v>38351.75</c:v>
                </c:pt>
                <c:pt idx="127">
                  <c:v>38351.875</c:v>
                </c:pt>
                <c:pt idx="128">
                  <c:v>38352</c:v>
                </c:pt>
                <c:pt idx="129">
                  <c:v>38352.124999999993</c:v>
                </c:pt>
                <c:pt idx="130">
                  <c:v>38352.25</c:v>
                </c:pt>
                <c:pt idx="131">
                  <c:v>38352.375</c:v>
                </c:pt>
                <c:pt idx="132">
                  <c:v>38352.5</c:v>
                </c:pt>
                <c:pt idx="133">
                  <c:v>38352.624999999993</c:v>
                </c:pt>
                <c:pt idx="134">
                  <c:v>38352.75</c:v>
                </c:pt>
                <c:pt idx="135">
                  <c:v>38352.875</c:v>
                </c:pt>
              </c:numCache>
            </c:numRef>
          </c:xVal>
          <c:yVal>
            <c:numRef>
              <c:f>Θερμοκρασία!$P$3:$P$138</c:f>
              <c:numCache>
                <c:formatCode>General</c:formatCode>
                <c:ptCount val="136"/>
                <c:pt idx="0">
                  <c:v>-0.52059379666992922</c:v>
                </c:pt>
                <c:pt idx="1">
                  <c:v>-0.33649977481687826</c:v>
                </c:pt>
                <c:pt idx="2">
                  <c:v>-0.28019270827625381</c:v>
                </c:pt>
                <c:pt idx="3">
                  <c:v>-0.23515227473869388</c:v>
                </c:pt>
                <c:pt idx="4">
                  <c:v>-0.24720150769432681</c:v>
                </c:pt>
                <c:pt idx="5">
                  <c:v>-0.6015394746055801</c:v>
                </c:pt>
                <c:pt idx="6">
                  <c:v>-0.74837606942999801</c:v>
                </c:pt>
                <c:pt idx="7">
                  <c:v>-0.7056827012592235</c:v>
                </c:pt>
                <c:pt idx="8">
                  <c:v>-0.74669386239887736</c:v>
                </c:pt>
                <c:pt idx="9">
                  <c:v>-1.2343071475314433</c:v>
                </c:pt>
                <c:pt idx="10">
                  <c:v>-1.0082618248355881</c:v>
                </c:pt>
                <c:pt idx="11">
                  <c:v>-1.4070427472616538</c:v>
                </c:pt>
                <c:pt idx="12">
                  <c:v>-1.1831183232563283</c:v>
                </c:pt>
                <c:pt idx="13">
                  <c:v>-0.79864437564327495</c:v>
                </c:pt>
                <c:pt idx="14">
                  <c:v>-0.81475410989137809</c:v>
                </c:pt>
                <c:pt idx="15">
                  <c:v>-0.97754032926194456</c:v>
                </c:pt>
                <c:pt idx="16">
                  <c:v>-0.93323156389227557</c:v>
                </c:pt>
                <c:pt idx="17">
                  <c:v>-0.85124359856429177</c:v>
                </c:pt>
                <c:pt idx="18">
                  <c:v>-0.66113693916504168</c:v>
                </c:pt>
                <c:pt idx="19">
                  <c:v>-0.5347646689777934</c:v>
                </c:pt>
                <c:pt idx="20">
                  <c:v>-0.15180036162086491</c:v>
                </c:pt>
                <c:pt idx="21">
                  <c:v>-0.39173165919574082</c:v>
                </c:pt>
                <c:pt idx="22">
                  <c:v>-0.32839402239064258</c:v>
                </c:pt>
                <c:pt idx="23">
                  <c:v>-0.2363790272837307</c:v>
                </c:pt>
                <c:pt idx="24">
                  <c:v>0.11850364258481558</c:v>
                </c:pt>
                <c:pt idx="25">
                  <c:v>0.69959187524440636</c:v>
                </c:pt>
                <c:pt idx="26">
                  <c:v>0.6848643139424806</c:v>
                </c:pt>
                <c:pt idx="27">
                  <c:v>0.53709213321784977</c:v>
                </c:pt>
                <c:pt idx="28">
                  <c:v>0.86264464460912682</c:v>
                </c:pt>
                <c:pt idx="29">
                  <c:v>0.33020422924623288</c:v>
                </c:pt>
                <c:pt idx="30">
                  <c:v>0.34172415434265246</c:v>
                </c:pt>
                <c:pt idx="31">
                  <c:v>0.82784736194035058</c:v>
                </c:pt>
                <c:pt idx="32">
                  <c:v>0.72307877175131718</c:v>
                </c:pt>
                <c:pt idx="33">
                  <c:v>0.90893013890715657</c:v>
                </c:pt>
                <c:pt idx="34">
                  <c:v>0.98292063887821035</c:v>
                </c:pt>
                <c:pt idx="35">
                  <c:v>1.140568245999811</c:v>
                </c:pt>
                <c:pt idx="36">
                  <c:v>0.7697135608772262</c:v>
                </c:pt>
                <c:pt idx="37">
                  <c:v>0.61732465845557427</c:v>
                </c:pt>
                <c:pt idx="38">
                  <c:v>0.70400008851755269</c:v>
                </c:pt>
                <c:pt idx="39">
                  <c:v>0.19454183784608836</c:v>
                </c:pt>
                <c:pt idx="40">
                  <c:v>0.45921275195668332</c:v>
                </c:pt>
                <c:pt idx="41">
                  <c:v>1.9500305724913024E-2</c:v>
                </c:pt>
                <c:pt idx="42">
                  <c:v>-0.28824912958624316</c:v>
                </c:pt>
                <c:pt idx="43">
                  <c:v>-5.3908401487526784E-2</c:v>
                </c:pt>
                <c:pt idx="44">
                  <c:v>8.4290125375409919E-2</c:v>
                </c:pt>
                <c:pt idx="45">
                  <c:v>0.24045670604970895</c:v>
                </c:pt>
                <c:pt idx="46">
                  <c:v>0.18834683775689887</c:v>
                </c:pt>
                <c:pt idx="47">
                  <c:v>6.6868872124209458E-2</c:v>
                </c:pt>
                <c:pt idx="48">
                  <c:v>-0.25546302090012113</c:v>
                </c:pt>
                <c:pt idx="49">
                  <c:v>0.18561273940784717</c:v>
                </c:pt>
                <c:pt idx="50">
                  <c:v>0.45638847369124347</c:v>
                </c:pt>
                <c:pt idx="51">
                  <c:v>0.52993527564364362</c:v>
                </c:pt>
                <c:pt idx="52">
                  <c:v>0.39815720379953856</c:v>
                </c:pt>
                <c:pt idx="53">
                  <c:v>0.43446490445010638</c:v>
                </c:pt>
                <c:pt idx="54">
                  <c:v>0.44049743601635449</c:v>
                </c:pt>
                <c:pt idx="55">
                  <c:v>0.63275563544203128</c:v>
                </c:pt>
                <c:pt idx="56">
                  <c:v>0.31464491479912632</c:v>
                </c:pt>
                <c:pt idx="57">
                  <c:v>0.28173392733287733</c:v>
                </c:pt>
                <c:pt idx="58">
                  <c:v>0.21107947099254934</c:v>
                </c:pt>
                <c:pt idx="59">
                  <c:v>0.2543812620631633</c:v>
                </c:pt>
                <c:pt idx="60">
                  <c:v>0.25017204891995382</c:v>
                </c:pt>
                <c:pt idx="61">
                  <c:v>-7.8462096987790456E-2</c:v>
                </c:pt>
                <c:pt idx="62">
                  <c:v>-0.37322184263916841</c:v>
                </c:pt>
                <c:pt idx="63">
                  <c:v>-0.34563036970871341</c:v>
                </c:pt>
                <c:pt idx="64">
                  <c:v>-0.24369350636746323</c:v>
                </c:pt>
                <c:pt idx="65">
                  <c:v>-0.17887749273873971</c:v>
                </c:pt>
                <c:pt idx="66">
                  <c:v>-0.38913054474837594</c:v>
                </c:pt>
                <c:pt idx="67">
                  <c:v>-0.26559005347833126</c:v>
                </c:pt>
                <c:pt idx="68">
                  <c:v>-0.15109467444776445</c:v>
                </c:pt>
                <c:pt idx="69">
                  <c:v>-0.5096020666213199</c:v>
                </c:pt>
                <c:pt idx="70">
                  <c:v>-0.29501499156477629</c:v>
                </c:pt>
                <c:pt idx="71">
                  <c:v>-0.5426162090365837</c:v>
                </c:pt>
                <c:pt idx="72">
                  <c:v>-0.45122668661731558</c:v>
                </c:pt>
                <c:pt idx="73">
                  <c:v>-0.41974339261669824</c:v>
                </c:pt>
                <c:pt idx="74">
                  <c:v>-0.42219177572576488</c:v>
                </c:pt>
                <c:pt idx="75">
                  <c:v>-0.36522494959108948</c:v>
                </c:pt>
                <c:pt idx="76">
                  <c:v>-1.009179843341542</c:v>
                </c:pt>
                <c:pt idx="77">
                  <c:v>-0.66802084325801214</c:v>
                </c:pt>
                <c:pt idx="78">
                  <c:v>-0.41686854466282913</c:v>
                </c:pt>
                <c:pt idx="79">
                  <c:v>-0.25744883573843547</c:v>
                </c:pt>
                <c:pt idx="80">
                  <c:v>-0.97469013617033162</c:v>
                </c:pt>
                <c:pt idx="81">
                  <c:v>-1.0425483796171742</c:v>
                </c:pt>
                <c:pt idx="82">
                  <c:v>-0.95829696119725527</c:v>
                </c:pt>
                <c:pt idx="83">
                  <c:v>-1.0029160818339984</c:v>
                </c:pt>
                <c:pt idx="84">
                  <c:v>-1.0441207983054619</c:v>
                </c:pt>
                <c:pt idx="85">
                  <c:v>-0.17237058351854062</c:v>
                </c:pt>
                <c:pt idx="86">
                  <c:v>-0.42246374349459348</c:v>
                </c:pt>
                <c:pt idx="87">
                  <c:v>-0.33284349495991294</c:v>
                </c:pt>
                <c:pt idx="88">
                  <c:v>-0.7806237537527897</c:v>
                </c:pt>
                <c:pt idx="89">
                  <c:v>-0.42538610983573688</c:v>
                </c:pt>
                <c:pt idx="90">
                  <c:v>0.10106852719324147</c:v>
                </c:pt>
                <c:pt idx="91">
                  <c:v>0.69787922974786143</c:v>
                </c:pt>
                <c:pt idx="92">
                  <c:v>0.74897257424816288</c:v>
                </c:pt>
                <c:pt idx="93">
                  <c:v>0.36451066069402044</c:v>
                </c:pt>
                <c:pt idx="94">
                  <c:v>0.16098524171375558</c:v>
                </c:pt>
                <c:pt idx="95">
                  <c:v>0.60720548538417674</c:v>
                </c:pt>
                <c:pt idx="96">
                  <c:v>1.0761723286210394</c:v>
                </c:pt>
                <c:pt idx="97">
                  <c:v>1.2405967908581821</c:v>
                </c:pt>
                <c:pt idx="98">
                  <c:v>1.3235035105250215</c:v>
                </c:pt>
                <c:pt idx="99">
                  <c:v>1.3015270761945699</c:v>
                </c:pt>
                <c:pt idx="100">
                  <c:v>1.4227460474250238</c:v>
                </c:pt>
                <c:pt idx="101">
                  <c:v>1.4636131264300183</c:v>
                </c:pt>
                <c:pt idx="102">
                  <c:v>1.1203810833516861</c:v>
                </c:pt>
                <c:pt idx="103">
                  <c:v>1.217968984396208</c:v>
                </c:pt>
                <c:pt idx="104">
                  <c:v>1.4245588798049595</c:v>
                </c:pt>
                <c:pt idx="105">
                  <c:v>1.2913063050122098</c:v>
                </c:pt>
                <c:pt idx="106">
                  <c:v>1.1518012138982858</c:v>
                </c:pt>
                <c:pt idx="107">
                  <c:v>1.3191973105716026</c:v>
                </c:pt>
                <c:pt idx="108">
                  <c:v>1.3191251379718483</c:v>
                </c:pt>
                <c:pt idx="109">
                  <c:v>1.0772206310050978</c:v>
                </c:pt>
                <c:pt idx="110">
                  <c:v>0.84256864175192581</c:v>
                </c:pt>
                <c:pt idx="111">
                  <c:v>0.72643376143064176</c:v>
                </c:pt>
                <c:pt idx="112">
                  <c:v>1.2034784529840195</c:v>
                </c:pt>
                <c:pt idx="113">
                  <c:v>1.3337809463531021</c:v>
                </c:pt>
                <c:pt idx="114">
                  <c:v>1.2000525739640135</c:v>
                </c:pt>
                <c:pt idx="115">
                  <c:v>0.9137712567602827</c:v>
                </c:pt>
                <c:pt idx="116">
                  <c:v>1.0780287786017351</c:v>
                </c:pt>
                <c:pt idx="117">
                  <c:v>0.25725292812820083</c:v>
                </c:pt>
                <c:pt idx="118">
                  <c:v>0.10334590959305813</c:v>
                </c:pt>
                <c:pt idx="119">
                  <c:v>0.36334584111276186</c:v>
                </c:pt>
                <c:pt idx="120">
                  <c:v>3.3576451630407338E-2</c:v>
                </c:pt>
                <c:pt idx="121">
                  <c:v>-0.11072563075056861</c:v>
                </c:pt>
                <c:pt idx="122">
                  <c:v>-0.40793982380189198</c:v>
                </c:pt>
                <c:pt idx="123">
                  <c:v>-0.33039424107502541</c:v>
                </c:pt>
                <c:pt idx="124">
                  <c:v>0.106595006885189</c:v>
                </c:pt>
                <c:pt idx="125">
                  <c:v>-0.15488064576124441</c:v>
                </c:pt>
                <c:pt idx="126">
                  <c:v>-0.52249700723095138</c:v>
                </c:pt>
                <c:pt idx="127">
                  <c:v>-0.44108854157143185</c:v>
                </c:pt>
                <c:pt idx="128">
                  <c:v>-0.16128317579462564</c:v>
                </c:pt>
                <c:pt idx="129">
                  <c:v>-8.007688654309375E-2</c:v>
                </c:pt>
                <c:pt idx="130">
                  <c:v>0.21831028165215188</c:v>
                </c:pt>
                <c:pt idx="131">
                  <c:v>-2.2723470750017013E-2</c:v>
                </c:pt>
                <c:pt idx="132">
                  <c:v>-4.9037325275173814E-3</c:v>
                </c:pt>
                <c:pt idx="133">
                  <c:v>-0.69769462825242345</c:v>
                </c:pt>
                <c:pt idx="134">
                  <c:v>-0.48243388677807797</c:v>
                </c:pt>
                <c:pt idx="135">
                  <c:v>-0.6286735219520375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CAB4-4656-B934-0952CA6B4099}"/>
            </c:ext>
          </c:extLst>
        </c:ser>
        <c:ser>
          <c:idx val="4"/>
          <c:order val="4"/>
          <c:tx>
            <c:strRef>
              <c:f>Θερμοκρασία!$R$2</c:f>
              <c:strCache>
                <c:ptCount val="1"/>
                <c:pt idx="0">
                  <c:v>12ωρη πρόγνωση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xVal>
            <c:numRef>
              <c:f>Θερμοκρασία!$M$3:$M$138</c:f>
              <c:numCache>
                <c:formatCode>d/m/yy\ h:mm;@</c:formatCode>
                <c:ptCount val="136"/>
                <c:pt idx="0">
                  <c:v>38336</c:v>
                </c:pt>
                <c:pt idx="1">
                  <c:v>38336.124999999993</c:v>
                </c:pt>
                <c:pt idx="2">
                  <c:v>38336.25</c:v>
                </c:pt>
                <c:pt idx="3">
                  <c:v>38336.375</c:v>
                </c:pt>
                <c:pt idx="4">
                  <c:v>38336.5</c:v>
                </c:pt>
                <c:pt idx="5">
                  <c:v>38336.624999999993</c:v>
                </c:pt>
                <c:pt idx="6">
                  <c:v>38336.75</c:v>
                </c:pt>
                <c:pt idx="7">
                  <c:v>38336.875</c:v>
                </c:pt>
                <c:pt idx="8">
                  <c:v>38337</c:v>
                </c:pt>
                <c:pt idx="9">
                  <c:v>38337.124999999993</c:v>
                </c:pt>
                <c:pt idx="10">
                  <c:v>38337.25</c:v>
                </c:pt>
                <c:pt idx="11">
                  <c:v>38337.375</c:v>
                </c:pt>
                <c:pt idx="12">
                  <c:v>38337.5</c:v>
                </c:pt>
                <c:pt idx="13">
                  <c:v>38337.624999999993</c:v>
                </c:pt>
                <c:pt idx="14">
                  <c:v>38337.75</c:v>
                </c:pt>
                <c:pt idx="15">
                  <c:v>38337.875</c:v>
                </c:pt>
                <c:pt idx="16">
                  <c:v>38338</c:v>
                </c:pt>
                <c:pt idx="17">
                  <c:v>38338.124999999993</c:v>
                </c:pt>
                <c:pt idx="18">
                  <c:v>38338.25</c:v>
                </c:pt>
                <c:pt idx="19">
                  <c:v>38338.375</c:v>
                </c:pt>
                <c:pt idx="20">
                  <c:v>38338.5</c:v>
                </c:pt>
                <c:pt idx="21">
                  <c:v>38338.624999999993</c:v>
                </c:pt>
                <c:pt idx="22">
                  <c:v>38338.75</c:v>
                </c:pt>
                <c:pt idx="23">
                  <c:v>38338.875</c:v>
                </c:pt>
                <c:pt idx="24">
                  <c:v>38339</c:v>
                </c:pt>
                <c:pt idx="25">
                  <c:v>38339.124999999993</c:v>
                </c:pt>
                <c:pt idx="26">
                  <c:v>38339.25</c:v>
                </c:pt>
                <c:pt idx="27">
                  <c:v>38339.375</c:v>
                </c:pt>
                <c:pt idx="28">
                  <c:v>38339.5</c:v>
                </c:pt>
                <c:pt idx="29">
                  <c:v>38339.624999999993</c:v>
                </c:pt>
                <c:pt idx="30">
                  <c:v>38339.75</c:v>
                </c:pt>
                <c:pt idx="31">
                  <c:v>38339.875</c:v>
                </c:pt>
                <c:pt idx="32">
                  <c:v>38340</c:v>
                </c:pt>
                <c:pt idx="33">
                  <c:v>38340.124999999993</c:v>
                </c:pt>
                <c:pt idx="34">
                  <c:v>38340.25</c:v>
                </c:pt>
                <c:pt idx="35">
                  <c:v>38340.375</c:v>
                </c:pt>
                <c:pt idx="36">
                  <c:v>38340.5</c:v>
                </c:pt>
                <c:pt idx="37">
                  <c:v>38340.624999999993</c:v>
                </c:pt>
                <c:pt idx="38">
                  <c:v>38340.75</c:v>
                </c:pt>
                <c:pt idx="39">
                  <c:v>38340.875</c:v>
                </c:pt>
                <c:pt idx="40">
                  <c:v>38341</c:v>
                </c:pt>
                <c:pt idx="41">
                  <c:v>38341.124999999993</c:v>
                </c:pt>
                <c:pt idx="42">
                  <c:v>38341.25</c:v>
                </c:pt>
                <c:pt idx="43">
                  <c:v>38341.375</c:v>
                </c:pt>
                <c:pt idx="44">
                  <c:v>38341.5</c:v>
                </c:pt>
                <c:pt idx="45">
                  <c:v>38341.624999999993</c:v>
                </c:pt>
                <c:pt idx="46">
                  <c:v>38341.75</c:v>
                </c:pt>
                <c:pt idx="47">
                  <c:v>38341.875</c:v>
                </c:pt>
                <c:pt idx="48">
                  <c:v>38342</c:v>
                </c:pt>
                <c:pt idx="49">
                  <c:v>38342.124999999993</c:v>
                </c:pt>
                <c:pt idx="50">
                  <c:v>38342.25</c:v>
                </c:pt>
                <c:pt idx="51">
                  <c:v>38342.375</c:v>
                </c:pt>
                <c:pt idx="52">
                  <c:v>38342.5</c:v>
                </c:pt>
                <c:pt idx="53">
                  <c:v>38342.624999999993</c:v>
                </c:pt>
                <c:pt idx="54">
                  <c:v>38342.75</c:v>
                </c:pt>
                <c:pt idx="55">
                  <c:v>38342.875</c:v>
                </c:pt>
                <c:pt idx="56">
                  <c:v>38343</c:v>
                </c:pt>
                <c:pt idx="57">
                  <c:v>38343.124999999993</c:v>
                </c:pt>
                <c:pt idx="58">
                  <c:v>38343.25</c:v>
                </c:pt>
                <c:pt idx="59">
                  <c:v>38343.375</c:v>
                </c:pt>
                <c:pt idx="60">
                  <c:v>38343.5</c:v>
                </c:pt>
                <c:pt idx="61">
                  <c:v>38343.624999999993</c:v>
                </c:pt>
                <c:pt idx="62">
                  <c:v>38343.75</c:v>
                </c:pt>
                <c:pt idx="63">
                  <c:v>38343.875</c:v>
                </c:pt>
                <c:pt idx="64">
                  <c:v>38344</c:v>
                </c:pt>
                <c:pt idx="65">
                  <c:v>38344.124999999993</c:v>
                </c:pt>
                <c:pt idx="66">
                  <c:v>38344.25</c:v>
                </c:pt>
                <c:pt idx="67">
                  <c:v>38344.375</c:v>
                </c:pt>
                <c:pt idx="68">
                  <c:v>38344.5</c:v>
                </c:pt>
                <c:pt idx="69">
                  <c:v>38344.624999999993</c:v>
                </c:pt>
                <c:pt idx="70">
                  <c:v>38344.75</c:v>
                </c:pt>
                <c:pt idx="71">
                  <c:v>38344.875</c:v>
                </c:pt>
                <c:pt idx="72">
                  <c:v>38345</c:v>
                </c:pt>
                <c:pt idx="73">
                  <c:v>38345.124999999993</c:v>
                </c:pt>
                <c:pt idx="74">
                  <c:v>38345.25</c:v>
                </c:pt>
                <c:pt idx="75">
                  <c:v>38345.375</c:v>
                </c:pt>
                <c:pt idx="76">
                  <c:v>38345.5</c:v>
                </c:pt>
                <c:pt idx="77">
                  <c:v>38345.624999999993</c:v>
                </c:pt>
                <c:pt idx="78">
                  <c:v>38345.75</c:v>
                </c:pt>
                <c:pt idx="79">
                  <c:v>38345.875</c:v>
                </c:pt>
                <c:pt idx="80">
                  <c:v>38346</c:v>
                </c:pt>
                <c:pt idx="81">
                  <c:v>38346.124999999993</c:v>
                </c:pt>
                <c:pt idx="82">
                  <c:v>38346.25</c:v>
                </c:pt>
                <c:pt idx="83">
                  <c:v>38346.375</c:v>
                </c:pt>
                <c:pt idx="84">
                  <c:v>38346.5</c:v>
                </c:pt>
                <c:pt idx="85">
                  <c:v>38346.624999999993</c:v>
                </c:pt>
                <c:pt idx="86">
                  <c:v>38346.75</c:v>
                </c:pt>
                <c:pt idx="87">
                  <c:v>38346.875</c:v>
                </c:pt>
                <c:pt idx="88">
                  <c:v>38347</c:v>
                </c:pt>
                <c:pt idx="89">
                  <c:v>38347.124999999993</c:v>
                </c:pt>
                <c:pt idx="90">
                  <c:v>38347.25</c:v>
                </c:pt>
                <c:pt idx="91">
                  <c:v>38347.375</c:v>
                </c:pt>
                <c:pt idx="92">
                  <c:v>38347.5</c:v>
                </c:pt>
                <c:pt idx="93">
                  <c:v>38347.624999999993</c:v>
                </c:pt>
                <c:pt idx="94">
                  <c:v>38347.75</c:v>
                </c:pt>
                <c:pt idx="95">
                  <c:v>38347.875</c:v>
                </c:pt>
                <c:pt idx="96">
                  <c:v>38348</c:v>
                </c:pt>
                <c:pt idx="97">
                  <c:v>38348.124999999993</c:v>
                </c:pt>
                <c:pt idx="98">
                  <c:v>38348.25</c:v>
                </c:pt>
                <c:pt idx="99">
                  <c:v>38348.375</c:v>
                </c:pt>
                <c:pt idx="100">
                  <c:v>38348.5</c:v>
                </c:pt>
                <c:pt idx="101">
                  <c:v>38348.624999999993</c:v>
                </c:pt>
                <c:pt idx="102">
                  <c:v>38348.75</c:v>
                </c:pt>
                <c:pt idx="103">
                  <c:v>38348.875</c:v>
                </c:pt>
                <c:pt idx="104">
                  <c:v>38349</c:v>
                </c:pt>
                <c:pt idx="105">
                  <c:v>38349.124999999993</c:v>
                </c:pt>
                <c:pt idx="106">
                  <c:v>38349.25</c:v>
                </c:pt>
                <c:pt idx="107">
                  <c:v>38349.375</c:v>
                </c:pt>
                <c:pt idx="108">
                  <c:v>38349.5</c:v>
                </c:pt>
                <c:pt idx="109">
                  <c:v>38349.624999999993</c:v>
                </c:pt>
                <c:pt idx="110">
                  <c:v>38349.75</c:v>
                </c:pt>
                <c:pt idx="111">
                  <c:v>38349.875</c:v>
                </c:pt>
                <c:pt idx="112">
                  <c:v>38350</c:v>
                </c:pt>
                <c:pt idx="113">
                  <c:v>38350.124999999993</c:v>
                </c:pt>
                <c:pt idx="114">
                  <c:v>38350.25</c:v>
                </c:pt>
                <c:pt idx="115">
                  <c:v>38350.375</c:v>
                </c:pt>
                <c:pt idx="116">
                  <c:v>38350.5</c:v>
                </c:pt>
                <c:pt idx="117">
                  <c:v>38350.624999999993</c:v>
                </c:pt>
                <c:pt idx="118">
                  <c:v>38350.75</c:v>
                </c:pt>
                <c:pt idx="119">
                  <c:v>38350.875</c:v>
                </c:pt>
                <c:pt idx="120">
                  <c:v>38351</c:v>
                </c:pt>
                <c:pt idx="121">
                  <c:v>38351.124999999993</c:v>
                </c:pt>
                <c:pt idx="122">
                  <c:v>38351.25</c:v>
                </c:pt>
                <c:pt idx="123">
                  <c:v>38351.375</c:v>
                </c:pt>
                <c:pt idx="124">
                  <c:v>38351.5</c:v>
                </c:pt>
                <c:pt idx="125">
                  <c:v>38351.624999999993</c:v>
                </c:pt>
                <c:pt idx="126">
                  <c:v>38351.75</c:v>
                </c:pt>
                <c:pt idx="127">
                  <c:v>38351.875</c:v>
                </c:pt>
                <c:pt idx="128">
                  <c:v>38352</c:v>
                </c:pt>
                <c:pt idx="129">
                  <c:v>38352.124999999993</c:v>
                </c:pt>
                <c:pt idx="130">
                  <c:v>38352.25</c:v>
                </c:pt>
                <c:pt idx="131">
                  <c:v>38352.375</c:v>
                </c:pt>
                <c:pt idx="132">
                  <c:v>38352.5</c:v>
                </c:pt>
                <c:pt idx="133">
                  <c:v>38352.624999999993</c:v>
                </c:pt>
                <c:pt idx="134">
                  <c:v>38352.75</c:v>
                </c:pt>
                <c:pt idx="135">
                  <c:v>38352.875</c:v>
                </c:pt>
              </c:numCache>
            </c:numRef>
          </c:xVal>
          <c:yVal>
            <c:numRef>
              <c:f>Θερμοκρασία!$R$3:$R$138</c:f>
              <c:numCache>
                <c:formatCode>General</c:formatCode>
                <c:ptCount val="136"/>
                <c:pt idx="0">
                  <c:v>-0.83998110470738552</c:v>
                </c:pt>
                <c:pt idx="1">
                  <c:v>-0.54494670559416092</c:v>
                </c:pt>
                <c:pt idx="2">
                  <c:v>-0.29844456216444576</c:v>
                </c:pt>
                <c:pt idx="3">
                  <c:v>-0.3070432612631625</c:v>
                </c:pt>
                <c:pt idx="4">
                  <c:v>-0.35744833192297687</c:v>
                </c:pt>
                <c:pt idx="5">
                  <c:v>-0.22295230108905409</c:v>
                </c:pt>
                <c:pt idx="6">
                  <c:v>-0.20256520025830954</c:v>
                </c:pt>
                <c:pt idx="7">
                  <c:v>-0.43829471294721906</c:v>
                </c:pt>
                <c:pt idx="8">
                  <c:v>-0.5366670244201307</c:v>
                </c:pt>
                <c:pt idx="9">
                  <c:v>-0.53628025845870875</c:v>
                </c:pt>
                <c:pt idx="10">
                  <c:v>-0.670691771855216</c:v>
                </c:pt>
                <c:pt idx="11">
                  <c:v>-1.1264115421435061</c:v>
                </c:pt>
                <c:pt idx="12">
                  <c:v>-0.97045255068200476</c:v>
                </c:pt>
                <c:pt idx="13">
                  <c:v>-1.2301673134575839</c:v>
                </c:pt>
                <c:pt idx="14">
                  <c:v>-1.1409535398248267</c:v>
                </c:pt>
                <c:pt idx="15">
                  <c:v>-0.96294742177815562</c:v>
                </c:pt>
                <c:pt idx="16">
                  <c:v>-0.87048241277579064</c:v>
                </c:pt>
                <c:pt idx="17">
                  <c:v>-0.97824191146487283</c:v>
                </c:pt>
                <c:pt idx="18">
                  <c:v>-0.78231841806235358</c:v>
                </c:pt>
                <c:pt idx="19">
                  <c:v>-0.63494547511066568</c:v>
                </c:pt>
                <c:pt idx="20">
                  <c:v>-0.59067950579787354</c:v>
                </c:pt>
                <c:pt idx="21">
                  <c:v>-0.56989942567006591</c:v>
                </c:pt>
                <c:pt idx="22">
                  <c:v>-0.27724497546568189</c:v>
                </c:pt>
                <c:pt idx="23">
                  <c:v>-0.39594320531894861</c:v>
                </c:pt>
                <c:pt idx="24">
                  <c:v>-0.28429578286426038</c:v>
                </c:pt>
                <c:pt idx="25">
                  <c:v>-0.15960462421038107</c:v>
                </c:pt>
                <c:pt idx="26">
                  <c:v>0.12044175728336642</c:v>
                </c:pt>
                <c:pt idx="27">
                  <c:v>0.40966283931377218</c:v>
                </c:pt>
                <c:pt idx="28">
                  <c:v>0.455750922843143</c:v>
                </c:pt>
                <c:pt idx="29">
                  <c:v>0.48904200476233206</c:v>
                </c:pt>
                <c:pt idx="30">
                  <c:v>0.86709866640388067</c:v>
                </c:pt>
                <c:pt idx="31">
                  <c:v>0.58639782293104459</c:v>
                </c:pt>
                <c:pt idx="32">
                  <c:v>0.4968848206508813</c:v>
                </c:pt>
                <c:pt idx="33">
                  <c:v>0.73730773252086201</c:v>
                </c:pt>
                <c:pt idx="34">
                  <c:v>0.62350871264809482</c:v>
                </c:pt>
                <c:pt idx="35">
                  <c:v>0.58555542209812594</c:v>
                </c:pt>
                <c:pt idx="36">
                  <c:v>0.74652836694579505</c:v>
                </c:pt>
                <c:pt idx="37">
                  <c:v>1.0275273967236218</c:v>
                </c:pt>
                <c:pt idx="38">
                  <c:v>0.77272974368680347</c:v>
                </c:pt>
                <c:pt idx="39">
                  <c:v>0.75216904796143702</c:v>
                </c:pt>
                <c:pt idx="40">
                  <c:v>0.82325245728464969</c:v>
                </c:pt>
                <c:pt idx="41">
                  <c:v>0.39524952369988864</c:v>
                </c:pt>
                <c:pt idx="42">
                  <c:v>0.38318157904137834</c:v>
                </c:pt>
                <c:pt idx="43">
                  <c:v>3.0291505185645433E-2</c:v>
                </c:pt>
                <c:pt idx="44">
                  <c:v>-0.1966744681695316</c:v>
                </c:pt>
                <c:pt idx="45">
                  <c:v>-0.15950104243306931</c:v>
                </c:pt>
                <c:pt idx="46">
                  <c:v>-2.1203076670106034E-2</c:v>
                </c:pt>
                <c:pt idx="47">
                  <c:v>-8.0786749493983248E-3</c:v>
                </c:pt>
                <c:pt idx="48">
                  <c:v>1.223133543075028E-2</c:v>
                </c:pt>
                <c:pt idx="49">
                  <c:v>0.12019723870259792</c:v>
                </c:pt>
                <c:pt idx="50">
                  <c:v>-2.1281785533516492E-2</c:v>
                </c:pt>
                <c:pt idx="51">
                  <c:v>0.26481843068119926</c:v>
                </c:pt>
                <c:pt idx="52">
                  <c:v>0.35326445132225315</c:v>
                </c:pt>
                <c:pt idx="53">
                  <c:v>0.32990599742254462</c:v>
                </c:pt>
                <c:pt idx="54">
                  <c:v>0.24388834017552707</c:v>
                </c:pt>
                <c:pt idx="55">
                  <c:v>0.45459903962125175</c:v>
                </c:pt>
                <c:pt idx="56">
                  <c:v>0.50115495865224657</c:v>
                </c:pt>
                <c:pt idx="57">
                  <c:v>0.58695296995507096</c:v>
                </c:pt>
                <c:pt idx="58">
                  <c:v>0.34029307311497181</c:v>
                </c:pt>
                <c:pt idx="59">
                  <c:v>0.34310590789665973</c:v>
                </c:pt>
                <c:pt idx="60">
                  <c:v>0.27004549955144008</c:v>
                </c:pt>
                <c:pt idx="61">
                  <c:v>0.25696157168424466</c:v>
                </c:pt>
                <c:pt idx="62">
                  <c:v>0.14373480104291197</c:v>
                </c:pt>
                <c:pt idx="63">
                  <c:v>-5.791827057970253E-2</c:v>
                </c:pt>
                <c:pt idx="64">
                  <c:v>-0.23801206171072944</c:v>
                </c:pt>
                <c:pt idx="65">
                  <c:v>-0.22367293216590434</c:v>
                </c:pt>
                <c:pt idx="66">
                  <c:v>-0.22777654479880977</c:v>
                </c:pt>
                <c:pt idx="67">
                  <c:v>-0.29940918814835132</c:v>
                </c:pt>
                <c:pt idx="68">
                  <c:v>-0.4498385185934225</c:v>
                </c:pt>
                <c:pt idx="69">
                  <c:v>-0.2796945139430263</c:v>
                </c:pt>
                <c:pt idx="70">
                  <c:v>-0.15807504430594771</c:v>
                </c:pt>
                <c:pt idx="71">
                  <c:v>-0.39694358826397746</c:v>
                </c:pt>
                <c:pt idx="72">
                  <c:v>-0.26301254859906781</c:v>
                </c:pt>
                <c:pt idx="73">
                  <c:v>-0.3832571057861256</c:v>
                </c:pt>
                <c:pt idx="74">
                  <c:v>-0.36358961719110211</c:v>
                </c:pt>
                <c:pt idx="75">
                  <c:v>-0.4546361759560768</c:v>
                </c:pt>
                <c:pt idx="76">
                  <c:v>-0.40982588841779438</c:v>
                </c:pt>
                <c:pt idx="77">
                  <c:v>-0.41610647829432962</c:v>
                </c:pt>
                <c:pt idx="78">
                  <c:v>-0.80041434411305756</c:v>
                </c:pt>
                <c:pt idx="79">
                  <c:v>-0.54733630638870912</c:v>
                </c:pt>
                <c:pt idx="80">
                  <c:v>-0.41807807891615612</c:v>
                </c:pt>
                <c:pt idx="81">
                  <c:v>-0.38071382432483847</c:v>
                </c:pt>
                <c:pt idx="82">
                  <c:v>-0.93733190810977862</c:v>
                </c:pt>
                <c:pt idx="83">
                  <c:v>-0.76992498961870481</c:v>
                </c:pt>
                <c:pt idx="84">
                  <c:v>-0.69193887649541896</c:v>
                </c:pt>
                <c:pt idx="85">
                  <c:v>-0.86581611794050162</c:v>
                </c:pt>
                <c:pt idx="86">
                  <c:v>-1.0970688325091758</c:v>
                </c:pt>
                <c:pt idx="87">
                  <c:v>-0.4444935096556209</c:v>
                </c:pt>
                <c:pt idx="88">
                  <c:v>-0.56507022112057703</c:v>
                </c:pt>
                <c:pt idx="89">
                  <c:v>-0.45258131832576082</c:v>
                </c:pt>
                <c:pt idx="90">
                  <c:v>-0.57663771621278703</c:v>
                </c:pt>
                <c:pt idx="91">
                  <c:v>-0.11258684566776156</c:v>
                </c:pt>
                <c:pt idx="92">
                  <c:v>4.9825481108623934E-2</c:v>
                </c:pt>
                <c:pt idx="93">
                  <c:v>0.36735112006162784</c:v>
                </c:pt>
                <c:pt idx="94">
                  <c:v>0.38181686771238693</c:v>
                </c:pt>
                <c:pt idx="95">
                  <c:v>0.36848334334689747</c:v>
                </c:pt>
                <c:pt idx="96">
                  <c:v>0.42846825963845903</c:v>
                </c:pt>
                <c:pt idx="97">
                  <c:v>0.77539929826962795</c:v>
                </c:pt>
                <c:pt idx="98">
                  <c:v>0.93015667085082443</c:v>
                </c:pt>
                <c:pt idx="99">
                  <c:v>0.88669367660426512</c:v>
                </c:pt>
                <c:pt idx="100">
                  <c:v>1.0038264547655118</c:v>
                </c:pt>
                <c:pt idx="101">
                  <c:v>1.1975950899322181</c:v>
                </c:pt>
                <c:pt idx="102">
                  <c:v>1.3850549832238181</c:v>
                </c:pt>
                <c:pt idx="103">
                  <c:v>1.41651422976686</c:v>
                </c:pt>
                <c:pt idx="104">
                  <c:v>1.1957219503711016</c:v>
                </c:pt>
                <c:pt idx="105">
                  <c:v>1.2383395743110741</c:v>
                </c:pt>
                <c:pt idx="106">
                  <c:v>1.3227575497983948</c:v>
                </c:pt>
                <c:pt idx="107">
                  <c:v>1.1344756110836811</c:v>
                </c:pt>
                <c:pt idx="108">
                  <c:v>0.96782671209293869</c:v>
                </c:pt>
                <c:pt idx="109">
                  <c:v>1.1702985503063101</c:v>
                </c:pt>
                <c:pt idx="110">
                  <c:v>1.2079116433751778</c:v>
                </c:pt>
                <c:pt idx="111">
                  <c:v>0.99517427400767133</c:v>
                </c:pt>
                <c:pt idx="112">
                  <c:v>0.86401505156104863</c:v>
                </c:pt>
                <c:pt idx="113">
                  <c:v>0.84293884577640599</c:v>
                </c:pt>
                <c:pt idx="114">
                  <c:v>1.0685870211838882</c:v>
                </c:pt>
                <c:pt idx="115">
                  <c:v>1.0192406988922058</c:v>
                </c:pt>
                <c:pt idx="116">
                  <c:v>0.92821181275360964</c:v>
                </c:pt>
                <c:pt idx="117">
                  <c:v>0.85484528681879968</c:v>
                </c:pt>
                <c:pt idx="118">
                  <c:v>1.1237999132554966</c:v>
                </c:pt>
                <c:pt idx="119">
                  <c:v>0.53128699280006519</c:v>
                </c:pt>
                <c:pt idx="120">
                  <c:v>0.33120660618545705</c:v>
                </c:pt>
                <c:pt idx="121">
                  <c:v>0.38791290165730136</c:v>
                </c:pt>
                <c:pt idx="122">
                  <c:v>4.8394806488247483E-2</c:v>
                </c:pt>
                <c:pt idx="123">
                  <c:v>-0.29439783307109302</c:v>
                </c:pt>
                <c:pt idx="124">
                  <c:v>-0.42042136358310467</c:v>
                </c:pt>
                <c:pt idx="125">
                  <c:v>-0.26939576067170828</c:v>
                </c:pt>
                <c:pt idx="126">
                  <c:v>-8.6570982114521577E-2</c:v>
                </c:pt>
                <c:pt idx="127">
                  <c:v>-0.26334734216708267</c:v>
                </c:pt>
                <c:pt idx="128">
                  <c:v>-0.43889552229292339</c:v>
                </c:pt>
                <c:pt idx="129">
                  <c:v>-0.25798204732511842</c:v>
                </c:pt>
                <c:pt idx="130">
                  <c:v>-5.1340822865521364E-2</c:v>
                </c:pt>
                <c:pt idx="131">
                  <c:v>-0.17379664556175844</c:v>
                </c:pt>
                <c:pt idx="132">
                  <c:v>-2.0468936450244182E-2</c:v>
                </c:pt>
                <c:pt idx="133">
                  <c:v>-5.8877721780599392E-2</c:v>
                </c:pt>
                <c:pt idx="134">
                  <c:v>5.4024453392825564E-2</c:v>
                </c:pt>
                <c:pt idx="135">
                  <c:v>-0.392065927620210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CAB4-4656-B934-0952CA6B4099}"/>
            </c:ext>
          </c:extLst>
        </c:ser>
        <c:ser>
          <c:idx val="8"/>
          <c:order val="8"/>
          <c:tx>
            <c:strRef>
              <c:f>Θερμοκρασία!$V$2</c:f>
              <c:strCache>
                <c:ptCount val="1"/>
                <c:pt idx="0">
                  <c:v>24ωρη πρόγνωση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Θερμοκρασία!$M$3:$M$138</c:f>
              <c:numCache>
                <c:formatCode>d/m/yy\ h:mm;@</c:formatCode>
                <c:ptCount val="136"/>
                <c:pt idx="0">
                  <c:v>38336</c:v>
                </c:pt>
                <c:pt idx="1">
                  <c:v>38336.124999999993</c:v>
                </c:pt>
                <c:pt idx="2">
                  <c:v>38336.25</c:v>
                </c:pt>
                <c:pt idx="3">
                  <c:v>38336.375</c:v>
                </c:pt>
                <c:pt idx="4">
                  <c:v>38336.5</c:v>
                </c:pt>
                <c:pt idx="5">
                  <c:v>38336.624999999993</c:v>
                </c:pt>
                <c:pt idx="6">
                  <c:v>38336.75</c:v>
                </c:pt>
                <c:pt idx="7">
                  <c:v>38336.875</c:v>
                </c:pt>
                <c:pt idx="8">
                  <c:v>38337</c:v>
                </c:pt>
                <c:pt idx="9">
                  <c:v>38337.124999999993</c:v>
                </c:pt>
                <c:pt idx="10">
                  <c:v>38337.25</c:v>
                </c:pt>
                <c:pt idx="11">
                  <c:v>38337.375</c:v>
                </c:pt>
                <c:pt idx="12">
                  <c:v>38337.5</c:v>
                </c:pt>
                <c:pt idx="13">
                  <c:v>38337.624999999993</c:v>
                </c:pt>
                <c:pt idx="14">
                  <c:v>38337.75</c:v>
                </c:pt>
                <c:pt idx="15">
                  <c:v>38337.875</c:v>
                </c:pt>
                <c:pt idx="16">
                  <c:v>38338</c:v>
                </c:pt>
                <c:pt idx="17">
                  <c:v>38338.124999999993</c:v>
                </c:pt>
                <c:pt idx="18">
                  <c:v>38338.25</c:v>
                </c:pt>
                <c:pt idx="19">
                  <c:v>38338.375</c:v>
                </c:pt>
                <c:pt idx="20">
                  <c:v>38338.5</c:v>
                </c:pt>
                <c:pt idx="21">
                  <c:v>38338.624999999993</c:v>
                </c:pt>
                <c:pt idx="22">
                  <c:v>38338.75</c:v>
                </c:pt>
                <c:pt idx="23">
                  <c:v>38338.875</c:v>
                </c:pt>
                <c:pt idx="24">
                  <c:v>38339</c:v>
                </c:pt>
                <c:pt idx="25">
                  <c:v>38339.124999999993</c:v>
                </c:pt>
                <c:pt idx="26">
                  <c:v>38339.25</c:v>
                </c:pt>
                <c:pt idx="27">
                  <c:v>38339.375</c:v>
                </c:pt>
                <c:pt idx="28">
                  <c:v>38339.5</c:v>
                </c:pt>
                <c:pt idx="29">
                  <c:v>38339.624999999993</c:v>
                </c:pt>
                <c:pt idx="30">
                  <c:v>38339.75</c:v>
                </c:pt>
                <c:pt idx="31">
                  <c:v>38339.875</c:v>
                </c:pt>
                <c:pt idx="32">
                  <c:v>38340</c:v>
                </c:pt>
                <c:pt idx="33">
                  <c:v>38340.124999999993</c:v>
                </c:pt>
                <c:pt idx="34">
                  <c:v>38340.25</c:v>
                </c:pt>
                <c:pt idx="35">
                  <c:v>38340.375</c:v>
                </c:pt>
                <c:pt idx="36">
                  <c:v>38340.5</c:v>
                </c:pt>
                <c:pt idx="37">
                  <c:v>38340.624999999993</c:v>
                </c:pt>
                <c:pt idx="38">
                  <c:v>38340.75</c:v>
                </c:pt>
                <c:pt idx="39">
                  <c:v>38340.875</c:v>
                </c:pt>
                <c:pt idx="40">
                  <c:v>38341</c:v>
                </c:pt>
                <c:pt idx="41">
                  <c:v>38341.124999999993</c:v>
                </c:pt>
                <c:pt idx="42">
                  <c:v>38341.25</c:v>
                </c:pt>
                <c:pt idx="43">
                  <c:v>38341.375</c:v>
                </c:pt>
                <c:pt idx="44">
                  <c:v>38341.5</c:v>
                </c:pt>
                <c:pt idx="45">
                  <c:v>38341.624999999993</c:v>
                </c:pt>
                <c:pt idx="46">
                  <c:v>38341.75</c:v>
                </c:pt>
                <c:pt idx="47">
                  <c:v>38341.875</c:v>
                </c:pt>
                <c:pt idx="48">
                  <c:v>38342</c:v>
                </c:pt>
                <c:pt idx="49">
                  <c:v>38342.124999999993</c:v>
                </c:pt>
                <c:pt idx="50">
                  <c:v>38342.25</c:v>
                </c:pt>
                <c:pt idx="51">
                  <c:v>38342.375</c:v>
                </c:pt>
                <c:pt idx="52">
                  <c:v>38342.5</c:v>
                </c:pt>
                <c:pt idx="53">
                  <c:v>38342.624999999993</c:v>
                </c:pt>
                <c:pt idx="54">
                  <c:v>38342.75</c:v>
                </c:pt>
                <c:pt idx="55">
                  <c:v>38342.875</c:v>
                </c:pt>
                <c:pt idx="56">
                  <c:v>38343</c:v>
                </c:pt>
                <c:pt idx="57">
                  <c:v>38343.124999999993</c:v>
                </c:pt>
                <c:pt idx="58">
                  <c:v>38343.25</c:v>
                </c:pt>
                <c:pt idx="59">
                  <c:v>38343.375</c:v>
                </c:pt>
                <c:pt idx="60">
                  <c:v>38343.5</c:v>
                </c:pt>
                <c:pt idx="61">
                  <c:v>38343.624999999993</c:v>
                </c:pt>
                <c:pt idx="62">
                  <c:v>38343.75</c:v>
                </c:pt>
                <c:pt idx="63">
                  <c:v>38343.875</c:v>
                </c:pt>
                <c:pt idx="64">
                  <c:v>38344</c:v>
                </c:pt>
                <c:pt idx="65">
                  <c:v>38344.124999999993</c:v>
                </c:pt>
                <c:pt idx="66">
                  <c:v>38344.25</c:v>
                </c:pt>
                <c:pt idx="67">
                  <c:v>38344.375</c:v>
                </c:pt>
                <c:pt idx="68">
                  <c:v>38344.5</c:v>
                </c:pt>
                <c:pt idx="69">
                  <c:v>38344.624999999993</c:v>
                </c:pt>
                <c:pt idx="70">
                  <c:v>38344.75</c:v>
                </c:pt>
                <c:pt idx="71">
                  <c:v>38344.875</c:v>
                </c:pt>
                <c:pt idx="72">
                  <c:v>38345</c:v>
                </c:pt>
                <c:pt idx="73">
                  <c:v>38345.124999999993</c:v>
                </c:pt>
                <c:pt idx="74">
                  <c:v>38345.25</c:v>
                </c:pt>
                <c:pt idx="75">
                  <c:v>38345.375</c:v>
                </c:pt>
                <c:pt idx="76">
                  <c:v>38345.5</c:v>
                </c:pt>
                <c:pt idx="77">
                  <c:v>38345.624999999993</c:v>
                </c:pt>
                <c:pt idx="78">
                  <c:v>38345.75</c:v>
                </c:pt>
                <c:pt idx="79">
                  <c:v>38345.875</c:v>
                </c:pt>
                <c:pt idx="80">
                  <c:v>38346</c:v>
                </c:pt>
                <c:pt idx="81">
                  <c:v>38346.124999999993</c:v>
                </c:pt>
                <c:pt idx="82">
                  <c:v>38346.25</c:v>
                </c:pt>
                <c:pt idx="83">
                  <c:v>38346.375</c:v>
                </c:pt>
                <c:pt idx="84">
                  <c:v>38346.5</c:v>
                </c:pt>
                <c:pt idx="85">
                  <c:v>38346.624999999993</c:v>
                </c:pt>
                <c:pt idx="86">
                  <c:v>38346.75</c:v>
                </c:pt>
                <c:pt idx="87">
                  <c:v>38346.875</c:v>
                </c:pt>
                <c:pt idx="88">
                  <c:v>38347</c:v>
                </c:pt>
                <c:pt idx="89">
                  <c:v>38347.124999999993</c:v>
                </c:pt>
                <c:pt idx="90">
                  <c:v>38347.25</c:v>
                </c:pt>
                <c:pt idx="91">
                  <c:v>38347.375</c:v>
                </c:pt>
                <c:pt idx="92">
                  <c:v>38347.5</c:v>
                </c:pt>
                <c:pt idx="93">
                  <c:v>38347.624999999993</c:v>
                </c:pt>
                <c:pt idx="94">
                  <c:v>38347.75</c:v>
                </c:pt>
                <c:pt idx="95">
                  <c:v>38347.875</c:v>
                </c:pt>
                <c:pt idx="96">
                  <c:v>38348</c:v>
                </c:pt>
                <c:pt idx="97">
                  <c:v>38348.124999999993</c:v>
                </c:pt>
                <c:pt idx="98">
                  <c:v>38348.25</c:v>
                </c:pt>
                <c:pt idx="99">
                  <c:v>38348.375</c:v>
                </c:pt>
                <c:pt idx="100">
                  <c:v>38348.5</c:v>
                </c:pt>
                <c:pt idx="101">
                  <c:v>38348.624999999993</c:v>
                </c:pt>
                <c:pt idx="102">
                  <c:v>38348.75</c:v>
                </c:pt>
                <c:pt idx="103">
                  <c:v>38348.875</c:v>
                </c:pt>
                <c:pt idx="104">
                  <c:v>38349</c:v>
                </c:pt>
                <c:pt idx="105">
                  <c:v>38349.124999999993</c:v>
                </c:pt>
                <c:pt idx="106">
                  <c:v>38349.25</c:v>
                </c:pt>
                <c:pt idx="107">
                  <c:v>38349.375</c:v>
                </c:pt>
                <c:pt idx="108">
                  <c:v>38349.5</c:v>
                </c:pt>
                <c:pt idx="109">
                  <c:v>38349.624999999993</c:v>
                </c:pt>
                <c:pt idx="110">
                  <c:v>38349.75</c:v>
                </c:pt>
                <c:pt idx="111">
                  <c:v>38349.875</c:v>
                </c:pt>
                <c:pt idx="112">
                  <c:v>38350</c:v>
                </c:pt>
                <c:pt idx="113">
                  <c:v>38350.124999999993</c:v>
                </c:pt>
                <c:pt idx="114">
                  <c:v>38350.25</c:v>
                </c:pt>
                <c:pt idx="115">
                  <c:v>38350.375</c:v>
                </c:pt>
                <c:pt idx="116">
                  <c:v>38350.5</c:v>
                </c:pt>
                <c:pt idx="117">
                  <c:v>38350.624999999993</c:v>
                </c:pt>
                <c:pt idx="118">
                  <c:v>38350.75</c:v>
                </c:pt>
                <c:pt idx="119">
                  <c:v>38350.875</c:v>
                </c:pt>
                <c:pt idx="120">
                  <c:v>38351</c:v>
                </c:pt>
                <c:pt idx="121">
                  <c:v>38351.124999999993</c:v>
                </c:pt>
                <c:pt idx="122">
                  <c:v>38351.25</c:v>
                </c:pt>
                <c:pt idx="123">
                  <c:v>38351.375</c:v>
                </c:pt>
                <c:pt idx="124">
                  <c:v>38351.5</c:v>
                </c:pt>
                <c:pt idx="125">
                  <c:v>38351.624999999993</c:v>
                </c:pt>
                <c:pt idx="126">
                  <c:v>38351.75</c:v>
                </c:pt>
                <c:pt idx="127">
                  <c:v>38351.875</c:v>
                </c:pt>
                <c:pt idx="128">
                  <c:v>38352</c:v>
                </c:pt>
                <c:pt idx="129">
                  <c:v>38352.124999999993</c:v>
                </c:pt>
                <c:pt idx="130">
                  <c:v>38352.25</c:v>
                </c:pt>
                <c:pt idx="131">
                  <c:v>38352.375</c:v>
                </c:pt>
                <c:pt idx="132">
                  <c:v>38352.5</c:v>
                </c:pt>
                <c:pt idx="133">
                  <c:v>38352.624999999993</c:v>
                </c:pt>
                <c:pt idx="134">
                  <c:v>38352.75</c:v>
                </c:pt>
                <c:pt idx="135">
                  <c:v>38352.875</c:v>
                </c:pt>
              </c:numCache>
            </c:numRef>
          </c:xVal>
          <c:yVal>
            <c:numRef>
              <c:f>Θερμοκρασία!$V$3:$V$138</c:f>
              <c:numCache>
                <c:formatCode>General</c:formatCode>
                <c:ptCount val="136"/>
                <c:pt idx="0">
                  <c:v>-0.96917635744127595</c:v>
                </c:pt>
                <c:pt idx="1">
                  <c:v>-0.95949967130496472</c:v>
                </c:pt>
                <c:pt idx="2">
                  <c:v>-0.33974286550009902</c:v>
                </c:pt>
                <c:pt idx="3">
                  <c:v>-0.27858405191723301</c:v>
                </c:pt>
                <c:pt idx="4">
                  <c:v>-0.53887100330659643</c:v>
                </c:pt>
                <c:pt idx="5">
                  <c:v>-0.35861509870451436</c:v>
                </c:pt>
                <c:pt idx="6">
                  <c:v>-0.27160732481477662</c:v>
                </c:pt>
                <c:pt idx="7">
                  <c:v>-0.22367617909439488</c:v>
                </c:pt>
                <c:pt idx="8">
                  <c:v>-0.21094006898806594</c:v>
                </c:pt>
                <c:pt idx="9">
                  <c:v>-0.12692976062206951</c:v>
                </c:pt>
                <c:pt idx="10">
                  <c:v>-0.13232919734754342</c:v>
                </c:pt>
                <c:pt idx="11">
                  <c:v>-0.48495591849872521</c:v>
                </c:pt>
                <c:pt idx="12">
                  <c:v>-0.66911733757644065</c:v>
                </c:pt>
                <c:pt idx="13">
                  <c:v>-0.67413427479808818</c:v>
                </c:pt>
                <c:pt idx="14">
                  <c:v>-0.7364883579527195</c:v>
                </c:pt>
                <c:pt idx="15">
                  <c:v>-1.1672031590603003</c:v>
                </c:pt>
                <c:pt idx="16">
                  <c:v>-0.92480727736357837</c:v>
                </c:pt>
                <c:pt idx="17">
                  <c:v>-1.2149319567836934</c:v>
                </c:pt>
                <c:pt idx="18">
                  <c:v>-1.0186702841941511</c:v>
                </c:pt>
                <c:pt idx="19">
                  <c:v>-0.6213558778012096</c:v>
                </c:pt>
                <c:pt idx="20">
                  <c:v>-0.53551470928310441</c:v>
                </c:pt>
                <c:pt idx="21">
                  <c:v>-0.64779701170118853</c:v>
                </c:pt>
                <c:pt idx="22">
                  <c:v>-0.60291251847950844</c:v>
                </c:pt>
                <c:pt idx="23">
                  <c:v>-0.56951625325471467</c:v>
                </c:pt>
                <c:pt idx="24">
                  <c:v>-0.49434877657188586</c:v>
                </c:pt>
                <c:pt idx="25">
                  <c:v>-0.4058714064118113</c:v>
                </c:pt>
                <c:pt idx="26">
                  <c:v>-2.7992372826296314E-2</c:v>
                </c:pt>
                <c:pt idx="27">
                  <c:v>-0.1995541165022468</c:v>
                </c:pt>
                <c:pt idx="28">
                  <c:v>-0.15657323803194795</c:v>
                </c:pt>
                <c:pt idx="29">
                  <c:v>-9.2281153603305063E-2</c:v>
                </c:pt>
                <c:pt idx="30">
                  <c:v>0.18377590001292926</c:v>
                </c:pt>
                <c:pt idx="31">
                  <c:v>0.68056271500765908</c:v>
                </c:pt>
                <c:pt idx="32">
                  <c:v>0.72566963549759234</c:v>
                </c:pt>
                <c:pt idx="33">
                  <c:v>0.62904101265096179</c:v>
                </c:pt>
                <c:pt idx="34">
                  <c:v>0.88814511395172391</c:v>
                </c:pt>
                <c:pt idx="35">
                  <c:v>0.33295761552633818</c:v>
                </c:pt>
                <c:pt idx="36">
                  <c:v>0.18015628704934183</c:v>
                </c:pt>
                <c:pt idx="37">
                  <c:v>0.55390173570457935</c:v>
                </c:pt>
                <c:pt idx="38">
                  <c:v>0.48706990397455968</c:v>
                </c:pt>
                <c:pt idx="39">
                  <c:v>0.676246543126372</c:v>
                </c:pt>
                <c:pt idx="40">
                  <c:v>0.85673260538011775</c:v>
                </c:pt>
                <c:pt idx="41">
                  <c:v>1.074280953923817</c:v>
                </c:pt>
                <c:pt idx="42">
                  <c:v>0.71047889351143745</c:v>
                </c:pt>
                <c:pt idx="43">
                  <c:v>0.50303668174512706</c:v>
                </c:pt>
                <c:pt idx="44">
                  <c:v>0.50933476610815909</c:v>
                </c:pt>
                <c:pt idx="45">
                  <c:v>-2.917753861946305E-2</c:v>
                </c:pt>
                <c:pt idx="46">
                  <c:v>0.13613881508974987</c:v>
                </c:pt>
                <c:pt idx="47">
                  <c:v>-0.19491276343001923</c:v>
                </c:pt>
                <c:pt idx="48">
                  <c:v>-0.43223629500896732</c:v>
                </c:pt>
                <c:pt idx="49">
                  <c:v>-0.19469267932806517</c:v>
                </c:pt>
                <c:pt idx="50">
                  <c:v>1.571245204108038E-2</c:v>
                </c:pt>
                <c:pt idx="51">
                  <c:v>0.21900399148877445</c:v>
                </c:pt>
                <c:pt idx="52">
                  <c:v>0.2549963551075658</c:v>
                </c:pt>
                <c:pt idx="53">
                  <c:v>0.20958472788707333</c:v>
                </c:pt>
                <c:pt idx="54">
                  <c:v>-0.12807579979243233</c:v>
                </c:pt>
                <c:pt idx="55">
                  <c:v>0.15551557822388068</c:v>
                </c:pt>
                <c:pt idx="56">
                  <c:v>0.35752772748381501</c:v>
                </c:pt>
                <c:pt idx="57">
                  <c:v>0.43616375633458332</c:v>
                </c:pt>
                <c:pt idx="58">
                  <c:v>0.37399407061558582</c:v>
                </c:pt>
                <c:pt idx="59">
                  <c:v>0.45605901296636209</c:v>
                </c:pt>
                <c:pt idx="60">
                  <c:v>0.43300618735473312</c:v>
                </c:pt>
                <c:pt idx="61">
                  <c:v>0.53179961805616704</c:v>
                </c:pt>
                <c:pt idx="62">
                  <c:v>0.22733846437471722</c:v>
                </c:pt>
                <c:pt idx="63">
                  <c:v>0.17464291554055283</c:v>
                </c:pt>
                <c:pt idx="64">
                  <c:v>9.5393897086930024E-2</c:v>
                </c:pt>
                <c:pt idx="65">
                  <c:v>0.11004352547082406</c:v>
                </c:pt>
                <c:pt idx="66">
                  <c:v>0.11232521271978013</c:v>
                </c:pt>
                <c:pt idx="67">
                  <c:v>-0.13515121000271388</c:v>
                </c:pt>
                <c:pt idx="68">
                  <c:v>-0.38545867102573189</c:v>
                </c:pt>
                <c:pt idx="69">
                  <c:v>-0.37926117778258411</c:v>
                </c:pt>
                <c:pt idx="70">
                  <c:v>-0.30178229546313184</c:v>
                </c:pt>
                <c:pt idx="71">
                  <c:v>-0.22709927383798051</c:v>
                </c:pt>
                <c:pt idx="72">
                  <c:v>-0.34337604205519046</c:v>
                </c:pt>
                <c:pt idx="73">
                  <c:v>-0.17165316471482706</c:v>
                </c:pt>
                <c:pt idx="74">
                  <c:v>-4.3682838750396996E-2</c:v>
                </c:pt>
                <c:pt idx="75">
                  <c:v>-0.38168790521965734</c:v>
                </c:pt>
                <c:pt idx="76">
                  <c:v>-0.22962957900207068</c:v>
                </c:pt>
                <c:pt idx="77">
                  <c:v>-0.45027365303318523</c:v>
                </c:pt>
                <c:pt idx="78">
                  <c:v>-0.41451946790173488</c:v>
                </c:pt>
                <c:pt idx="79">
                  <c:v>-0.39847119409849852</c:v>
                </c:pt>
                <c:pt idx="80">
                  <c:v>-0.35950279049975042</c:v>
                </c:pt>
                <c:pt idx="81">
                  <c:v>-0.28133062482883286</c:v>
                </c:pt>
                <c:pt idx="82">
                  <c:v>-0.8363703167910318</c:v>
                </c:pt>
                <c:pt idx="83">
                  <c:v>-0.5668480932533837</c:v>
                </c:pt>
                <c:pt idx="84">
                  <c:v>-0.34434520604538077</c:v>
                </c:pt>
                <c:pt idx="85">
                  <c:v>-0.19429926856325341</c:v>
                </c:pt>
                <c:pt idx="86">
                  <c:v>-0.79357247383561658</c:v>
                </c:pt>
                <c:pt idx="87">
                  <c:v>-0.8305529061097392</c:v>
                </c:pt>
                <c:pt idx="88">
                  <c:v>-0.79330937403777113</c:v>
                </c:pt>
                <c:pt idx="89">
                  <c:v>-0.92577726398341564</c:v>
                </c:pt>
                <c:pt idx="90">
                  <c:v>-0.97808178944349444</c:v>
                </c:pt>
                <c:pt idx="91">
                  <c:v>-9.3439826615960828E-2</c:v>
                </c:pt>
                <c:pt idx="92">
                  <c:v>-0.17485621811635674</c:v>
                </c:pt>
                <c:pt idx="93">
                  <c:v>-7.0665154053061771E-2</c:v>
                </c:pt>
                <c:pt idx="94">
                  <c:v>-0.43939597289302895</c:v>
                </c:pt>
                <c:pt idx="95">
                  <c:v>-0.20457543769511621</c:v>
                </c:pt>
                <c:pt idx="96">
                  <c:v>0.13209666211286741</c:v>
                </c:pt>
                <c:pt idx="97">
                  <c:v>0.64003313752518043</c:v>
                </c:pt>
                <c:pt idx="98">
                  <c:v>0.78351447461652401</c:v>
                </c:pt>
                <c:pt idx="99">
                  <c:v>0.52327242495914117</c:v>
                </c:pt>
                <c:pt idx="100">
                  <c:v>0.29460051354959998</c:v>
                </c:pt>
                <c:pt idx="101">
                  <c:v>0.54325292029438044</c:v>
                </c:pt>
                <c:pt idx="102">
                  <c:v>0.84789847149652142</c:v>
                </c:pt>
                <c:pt idx="103">
                  <c:v>0.99033784923512858</c:v>
                </c:pt>
                <c:pt idx="104">
                  <c:v>1.1643858643455978</c:v>
                </c:pt>
                <c:pt idx="105">
                  <c:v>1.2256259866409798</c:v>
                </c:pt>
                <c:pt idx="106">
                  <c:v>1.3027753030914722</c:v>
                </c:pt>
                <c:pt idx="107">
                  <c:v>1.2576258289657947</c:v>
                </c:pt>
                <c:pt idx="108">
                  <c:v>0.87910731852629864</c:v>
                </c:pt>
                <c:pt idx="109">
                  <c:v>0.88541789789248526</c:v>
                </c:pt>
                <c:pt idx="110">
                  <c:v>1.0367014736948579</c:v>
                </c:pt>
                <c:pt idx="111">
                  <c:v>0.91819184932423403</c:v>
                </c:pt>
                <c:pt idx="112">
                  <c:v>0.82122972132275751</c:v>
                </c:pt>
                <c:pt idx="113">
                  <c:v>1.0371901404249178</c:v>
                </c:pt>
                <c:pt idx="114">
                  <c:v>1.0765086040376914</c:v>
                </c:pt>
                <c:pt idx="115">
                  <c:v>0.83823579164702555</c:v>
                </c:pt>
                <c:pt idx="116">
                  <c:v>0.61756247713448864</c:v>
                </c:pt>
                <c:pt idx="117">
                  <c:v>0.49122256470385472</c:v>
                </c:pt>
                <c:pt idx="118">
                  <c:v>0.86817572478485083</c:v>
                </c:pt>
                <c:pt idx="119">
                  <c:v>1.0092633782400198</c:v>
                </c:pt>
                <c:pt idx="120">
                  <c:v>0.97567015402385793</c:v>
                </c:pt>
                <c:pt idx="121">
                  <c:v>0.79627335360625739</c:v>
                </c:pt>
                <c:pt idx="122">
                  <c:v>0.93638920201442133</c:v>
                </c:pt>
                <c:pt idx="123">
                  <c:v>0.12022305849215627</c:v>
                </c:pt>
                <c:pt idx="124">
                  <c:v>-0.1576022170797492</c:v>
                </c:pt>
                <c:pt idx="125">
                  <c:v>3.8712365547598993E-2</c:v>
                </c:pt>
                <c:pt idx="126">
                  <c:v>-0.23123408908196058</c:v>
                </c:pt>
                <c:pt idx="127">
                  <c:v>-0.32735202003050534</c:v>
                </c:pt>
                <c:pt idx="128">
                  <c:v>-0.45775313103878923</c:v>
                </c:pt>
                <c:pt idx="129">
                  <c:v>-0.30280290191849979</c:v>
                </c:pt>
                <c:pt idx="130">
                  <c:v>9.5646794955342701E-2</c:v>
                </c:pt>
                <c:pt idx="131">
                  <c:v>-7.7182766936367123E-2</c:v>
                </c:pt>
                <c:pt idx="132">
                  <c:v>-0.36571175934403582</c:v>
                </c:pt>
                <c:pt idx="133">
                  <c:v>-0.30416706035969587</c:v>
                </c:pt>
                <c:pt idx="134">
                  <c:v>-0.10897912170181023</c:v>
                </c:pt>
                <c:pt idx="135">
                  <c:v>-9.6398104245661476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CAB4-4656-B934-0952CA6B40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7047168"/>
        <c:axId val="167048704"/>
        <c:extLst>
          <c:ext xmlns:c15="http://schemas.microsoft.com/office/drawing/2012/chart" uri="{02D57815-91ED-43cb-92C2-25804820EDAC}">
            <c15:filteredScatter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Θερμοκρασία!$Q$2</c15:sqref>
                        </c15:formulaRef>
                      </c:ext>
                    </c:extLst>
                    <c:strCache>
                      <c:ptCount val="1"/>
                      <c:pt idx="0">
                        <c:v>9ωρη πρόγνωση</c:v>
                      </c:pt>
                    </c:strCache>
                  </c:strRef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Θερμοκρασία!$M$3:$M$138</c15:sqref>
                        </c15:formulaRef>
                      </c:ext>
                    </c:extLst>
                    <c:numCache>
                      <c:formatCode>d/m/yy\ h:mm;@</c:formatCode>
                      <c:ptCount val="136"/>
                      <c:pt idx="0">
                        <c:v>38336</c:v>
                      </c:pt>
                      <c:pt idx="1">
                        <c:v>38336.125</c:v>
                      </c:pt>
                      <c:pt idx="2">
                        <c:v>38336.25</c:v>
                      </c:pt>
                      <c:pt idx="3">
                        <c:v>38336.375</c:v>
                      </c:pt>
                      <c:pt idx="4">
                        <c:v>38336.5</c:v>
                      </c:pt>
                      <c:pt idx="5">
                        <c:v>38336.625</c:v>
                      </c:pt>
                      <c:pt idx="6">
                        <c:v>38336.75</c:v>
                      </c:pt>
                      <c:pt idx="7">
                        <c:v>38336.875</c:v>
                      </c:pt>
                      <c:pt idx="8">
                        <c:v>38337</c:v>
                      </c:pt>
                      <c:pt idx="9">
                        <c:v>38337.125</c:v>
                      </c:pt>
                      <c:pt idx="10">
                        <c:v>38337.25</c:v>
                      </c:pt>
                      <c:pt idx="11">
                        <c:v>38337.375</c:v>
                      </c:pt>
                      <c:pt idx="12">
                        <c:v>38337.5</c:v>
                      </c:pt>
                      <c:pt idx="13">
                        <c:v>38337.625</c:v>
                      </c:pt>
                      <c:pt idx="14">
                        <c:v>38337.75</c:v>
                      </c:pt>
                      <c:pt idx="15">
                        <c:v>38337.875</c:v>
                      </c:pt>
                      <c:pt idx="16">
                        <c:v>38338</c:v>
                      </c:pt>
                      <c:pt idx="17">
                        <c:v>38338.125</c:v>
                      </c:pt>
                      <c:pt idx="18">
                        <c:v>38338.25</c:v>
                      </c:pt>
                      <c:pt idx="19">
                        <c:v>38338.375</c:v>
                      </c:pt>
                      <c:pt idx="20">
                        <c:v>38338.5</c:v>
                      </c:pt>
                      <c:pt idx="21">
                        <c:v>38338.625</c:v>
                      </c:pt>
                      <c:pt idx="22">
                        <c:v>38338.75</c:v>
                      </c:pt>
                      <c:pt idx="23">
                        <c:v>38338.875</c:v>
                      </c:pt>
                      <c:pt idx="24">
                        <c:v>38339</c:v>
                      </c:pt>
                      <c:pt idx="25">
                        <c:v>38339.125</c:v>
                      </c:pt>
                      <c:pt idx="26">
                        <c:v>38339.25</c:v>
                      </c:pt>
                      <c:pt idx="27">
                        <c:v>38339.375</c:v>
                      </c:pt>
                      <c:pt idx="28">
                        <c:v>38339.5</c:v>
                      </c:pt>
                      <c:pt idx="29">
                        <c:v>38339.625</c:v>
                      </c:pt>
                      <c:pt idx="30">
                        <c:v>38339.75</c:v>
                      </c:pt>
                      <c:pt idx="31">
                        <c:v>38339.875</c:v>
                      </c:pt>
                      <c:pt idx="32">
                        <c:v>38340</c:v>
                      </c:pt>
                      <c:pt idx="33">
                        <c:v>38340.125</c:v>
                      </c:pt>
                      <c:pt idx="34">
                        <c:v>38340.25</c:v>
                      </c:pt>
                      <c:pt idx="35">
                        <c:v>38340.375</c:v>
                      </c:pt>
                      <c:pt idx="36">
                        <c:v>38340.5</c:v>
                      </c:pt>
                      <c:pt idx="37">
                        <c:v>38340.625</c:v>
                      </c:pt>
                      <c:pt idx="38">
                        <c:v>38340.75</c:v>
                      </c:pt>
                      <c:pt idx="39">
                        <c:v>38340.875</c:v>
                      </c:pt>
                      <c:pt idx="40">
                        <c:v>38341</c:v>
                      </c:pt>
                      <c:pt idx="41">
                        <c:v>38341.125</c:v>
                      </c:pt>
                      <c:pt idx="42">
                        <c:v>38341.25</c:v>
                      </c:pt>
                      <c:pt idx="43">
                        <c:v>38341.375</c:v>
                      </c:pt>
                      <c:pt idx="44">
                        <c:v>38341.5</c:v>
                      </c:pt>
                      <c:pt idx="45">
                        <c:v>38341.625</c:v>
                      </c:pt>
                      <c:pt idx="46">
                        <c:v>38341.75</c:v>
                      </c:pt>
                      <c:pt idx="47">
                        <c:v>38341.875</c:v>
                      </c:pt>
                      <c:pt idx="48">
                        <c:v>38342</c:v>
                      </c:pt>
                      <c:pt idx="49">
                        <c:v>38342.125</c:v>
                      </c:pt>
                      <c:pt idx="50">
                        <c:v>38342.25</c:v>
                      </c:pt>
                      <c:pt idx="51">
                        <c:v>38342.375</c:v>
                      </c:pt>
                      <c:pt idx="52">
                        <c:v>38342.5</c:v>
                      </c:pt>
                      <c:pt idx="53">
                        <c:v>38342.625</c:v>
                      </c:pt>
                      <c:pt idx="54">
                        <c:v>38342.75</c:v>
                      </c:pt>
                      <c:pt idx="55">
                        <c:v>38342.875</c:v>
                      </c:pt>
                      <c:pt idx="56">
                        <c:v>38343</c:v>
                      </c:pt>
                      <c:pt idx="57">
                        <c:v>38343.125</c:v>
                      </c:pt>
                      <c:pt idx="58">
                        <c:v>38343.25</c:v>
                      </c:pt>
                      <c:pt idx="59">
                        <c:v>38343.375</c:v>
                      </c:pt>
                      <c:pt idx="60">
                        <c:v>38343.5</c:v>
                      </c:pt>
                      <c:pt idx="61">
                        <c:v>38343.625</c:v>
                      </c:pt>
                      <c:pt idx="62">
                        <c:v>38343.75</c:v>
                      </c:pt>
                      <c:pt idx="63">
                        <c:v>38343.875</c:v>
                      </c:pt>
                      <c:pt idx="64">
                        <c:v>38344</c:v>
                      </c:pt>
                      <c:pt idx="65">
                        <c:v>38344.125</c:v>
                      </c:pt>
                      <c:pt idx="66">
                        <c:v>38344.25</c:v>
                      </c:pt>
                      <c:pt idx="67">
                        <c:v>38344.375</c:v>
                      </c:pt>
                      <c:pt idx="68">
                        <c:v>38344.5</c:v>
                      </c:pt>
                      <c:pt idx="69">
                        <c:v>38344.625</c:v>
                      </c:pt>
                      <c:pt idx="70">
                        <c:v>38344.75</c:v>
                      </c:pt>
                      <c:pt idx="71">
                        <c:v>38344.875</c:v>
                      </c:pt>
                      <c:pt idx="72">
                        <c:v>38345</c:v>
                      </c:pt>
                      <c:pt idx="73">
                        <c:v>38345.125</c:v>
                      </c:pt>
                      <c:pt idx="74">
                        <c:v>38345.25</c:v>
                      </c:pt>
                      <c:pt idx="75">
                        <c:v>38345.375</c:v>
                      </c:pt>
                      <c:pt idx="76">
                        <c:v>38345.5</c:v>
                      </c:pt>
                      <c:pt idx="77">
                        <c:v>38345.625</c:v>
                      </c:pt>
                      <c:pt idx="78">
                        <c:v>38345.75</c:v>
                      </c:pt>
                      <c:pt idx="79">
                        <c:v>38345.875</c:v>
                      </c:pt>
                      <c:pt idx="80">
                        <c:v>38346</c:v>
                      </c:pt>
                      <c:pt idx="81">
                        <c:v>38346.125</c:v>
                      </c:pt>
                      <c:pt idx="82">
                        <c:v>38346.25</c:v>
                      </c:pt>
                      <c:pt idx="83">
                        <c:v>38346.375</c:v>
                      </c:pt>
                      <c:pt idx="84">
                        <c:v>38346.5</c:v>
                      </c:pt>
                      <c:pt idx="85">
                        <c:v>38346.625</c:v>
                      </c:pt>
                      <c:pt idx="86">
                        <c:v>38346.75</c:v>
                      </c:pt>
                      <c:pt idx="87">
                        <c:v>38346.875</c:v>
                      </c:pt>
                      <c:pt idx="88">
                        <c:v>38347</c:v>
                      </c:pt>
                      <c:pt idx="89">
                        <c:v>38347.125</c:v>
                      </c:pt>
                      <c:pt idx="90">
                        <c:v>38347.25</c:v>
                      </c:pt>
                      <c:pt idx="91">
                        <c:v>38347.375</c:v>
                      </c:pt>
                      <c:pt idx="92">
                        <c:v>38347.5</c:v>
                      </c:pt>
                      <c:pt idx="93">
                        <c:v>38347.625</c:v>
                      </c:pt>
                      <c:pt idx="94">
                        <c:v>38347.75</c:v>
                      </c:pt>
                      <c:pt idx="95">
                        <c:v>38347.875</c:v>
                      </c:pt>
                      <c:pt idx="96">
                        <c:v>38348</c:v>
                      </c:pt>
                      <c:pt idx="97">
                        <c:v>38348.125</c:v>
                      </c:pt>
                      <c:pt idx="98">
                        <c:v>38348.25</c:v>
                      </c:pt>
                      <c:pt idx="99">
                        <c:v>38348.375</c:v>
                      </c:pt>
                      <c:pt idx="100">
                        <c:v>38348.5</c:v>
                      </c:pt>
                      <c:pt idx="101">
                        <c:v>38348.625</c:v>
                      </c:pt>
                      <c:pt idx="102">
                        <c:v>38348.75</c:v>
                      </c:pt>
                      <c:pt idx="103">
                        <c:v>38348.875</c:v>
                      </c:pt>
                      <c:pt idx="104">
                        <c:v>38349</c:v>
                      </c:pt>
                      <c:pt idx="105">
                        <c:v>38349.125</c:v>
                      </c:pt>
                      <c:pt idx="106">
                        <c:v>38349.25</c:v>
                      </c:pt>
                      <c:pt idx="107">
                        <c:v>38349.375</c:v>
                      </c:pt>
                      <c:pt idx="108">
                        <c:v>38349.5</c:v>
                      </c:pt>
                      <c:pt idx="109">
                        <c:v>38349.625</c:v>
                      </c:pt>
                      <c:pt idx="110">
                        <c:v>38349.75</c:v>
                      </c:pt>
                      <c:pt idx="111">
                        <c:v>38349.875</c:v>
                      </c:pt>
                      <c:pt idx="112">
                        <c:v>38350</c:v>
                      </c:pt>
                      <c:pt idx="113">
                        <c:v>38350.125</c:v>
                      </c:pt>
                      <c:pt idx="114">
                        <c:v>38350.25</c:v>
                      </c:pt>
                      <c:pt idx="115">
                        <c:v>38350.375</c:v>
                      </c:pt>
                      <c:pt idx="116">
                        <c:v>38350.5</c:v>
                      </c:pt>
                      <c:pt idx="117">
                        <c:v>38350.625</c:v>
                      </c:pt>
                      <c:pt idx="118">
                        <c:v>38350.75</c:v>
                      </c:pt>
                      <c:pt idx="119">
                        <c:v>38350.875</c:v>
                      </c:pt>
                      <c:pt idx="120">
                        <c:v>38351</c:v>
                      </c:pt>
                      <c:pt idx="121">
                        <c:v>38351.125</c:v>
                      </c:pt>
                      <c:pt idx="122">
                        <c:v>38351.25</c:v>
                      </c:pt>
                      <c:pt idx="123">
                        <c:v>38351.375</c:v>
                      </c:pt>
                      <c:pt idx="124">
                        <c:v>38351.5</c:v>
                      </c:pt>
                      <c:pt idx="125">
                        <c:v>38351.625</c:v>
                      </c:pt>
                      <c:pt idx="126">
                        <c:v>38351.75</c:v>
                      </c:pt>
                      <c:pt idx="127">
                        <c:v>38351.875</c:v>
                      </c:pt>
                      <c:pt idx="128">
                        <c:v>38352</c:v>
                      </c:pt>
                      <c:pt idx="129">
                        <c:v>38352.125</c:v>
                      </c:pt>
                      <c:pt idx="130">
                        <c:v>38352.25</c:v>
                      </c:pt>
                      <c:pt idx="131">
                        <c:v>38352.375</c:v>
                      </c:pt>
                      <c:pt idx="132">
                        <c:v>38352.5</c:v>
                      </c:pt>
                      <c:pt idx="133">
                        <c:v>38352.625</c:v>
                      </c:pt>
                      <c:pt idx="134">
                        <c:v>38352.75</c:v>
                      </c:pt>
                      <c:pt idx="135">
                        <c:v>38352.875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Θερμοκρασία!$Q$3:$Q$138</c15:sqref>
                        </c15:formulaRef>
                      </c:ext>
                    </c:extLst>
                    <c:numCache>
                      <c:formatCode>General</c:formatCode>
                      <c:ptCount val="136"/>
                      <c:pt idx="0">
                        <c:v>-0.66106577788684373</c:v>
                      </c:pt>
                      <c:pt idx="1">
                        <c:v>-0.45042747647415227</c:v>
                      </c:pt>
                      <c:pt idx="2">
                        <c:v>-0.27754110436235935</c:v>
                      </c:pt>
                      <c:pt idx="3">
                        <c:v>-0.31330798025932238</c:v>
                      </c:pt>
                      <c:pt idx="4">
                        <c:v>-0.27175116861366089</c:v>
                      </c:pt>
                      <c:pt idx="5">
                        <c:v>-0.2267321250842248</c:v>
                      </c:pt>
                      <c:pt idx="6">
                        <c:v>-0.51021248497666039</c:v>
                      </c:pt>
                      <c:pt idx="7">
                        <c:v>-0.62152980759940402</c:v>
                      </c:pt>
                      <c:pt idx="8">
                        <c:v>-0.59152038508994176</c:v>
                      </c:pt>
                      <c:pt idx="9">
                        <c:v>-0.65917808547081935</c:v>
                      </c:pt>
                      <c:pt idx="10">
                        <c:v>-1.1190144551127399</c:v>
                      </c:pt>
                      <c:pt idx="11">
                        <c:v>-0.98619978688662813</c:v>
                      </c:pt>
                      <c:pt idx="12">
                        <c:v>-1.2929638775947696</c:v>
                      </c:pt>
                      <c:pt idx="13">
                        <c:v>-1.1368469096322853</c:v>
                      </c:pt>
                      <c:pt idx="14">
                        <c:v>-0.87127675838754226</c:v>
                      </c:pt>
                      <c:pt idx="15">
                        <c:v>-0.89865009369306525</c:v>
                      </c:pt>
                      <c:pt idx="16">
                        <c:v>-0.97683132278390239</c:v>
                      </c:pt>
                      <c:pt idx="17">
                        <c:v>-0.92262157223966634</c:v>
                      </c:pt>
                      <c:pt idx="18">
                        <c:v>-0.75653262592378123</c:v>
                      </c:pt>
                      <c:pt idx="19">
                        <c:v>-0.60059699792461485</c:v>
                      </c:pt>
                      <c:pt idx="20">
                        <c:v>-0.54673022766563761</c:v>
                      </c:pt>
                      <c:pt idx="21">
                        <c:v>-0.24917241703528234</c:v>
                      </c:pt>
                      <c:pt idx="22">
                        <c:v>-0.41260632229253408</c:v>
                      </c:pt>
                      <c:pt idx="23">
                        <c:v>-0.33646361853119627</c:v>
                      </c:pt>
                      <c:pt idx="24">
                        <c:v>-0.21763541203723435</c:v>
                      </c:pt>
                      <c:pt idx="25">
                        <c:v>9.458638367964016E-2</c:v>
                      </c:pt>
                      <c:pt idx="26">
                        <c:v>0.55579162977021368</c:v>
                      </c:pt>
                      <c:pt idx="27">
                        <c:v>0.5090829025405752</c:v>
                      </c:pt>
                      <c:pt idx="28">
                        <c:v>0.45794146496995286</c:v>
                      </c:pt>
                      <c:pt idx="29">
                        <c:v>0.80001639618746812</c:v>
                      </c:pt>
                      <c:pt idx="30">
                        <c:v>0.45461693408505444</c:v>
                      </c:pt>
                      <c:pt idx="31">
                        <c:v>0.46857167797040472</c:v>
                      </c:pt>
                      <c:pt idx="32">
                        <c:v>0.80269149227129977</c:v>
                      </c:pt>
                      <c:pt idx="33">
                        <c:v>0.68408146555669003</c:v>
                      </c:pt>
                      <c:pt idx="34">
                        <c:v>0.78333116986630302</c:v>
                      </c:pt>
                      <c:pt idx="35">
                        <c:v>0.79497586230057149</c:v>
                      </c:pt>
                      <c:pt idx="36">
                        <c:v>1.0182420540748653</c:v>
                      </c:pt>
                      <c:pt idx="37">
                        <c:v>0.77793805952697703</c:v>
                      </c:pt>
                      <c:pt idx="38">
                        <c:v>0.65953461569843908</c:v>
                      </c:pt>
                      <c:pt idx="39">
                        <c:v>0.78107263573524</c:v>
                      </c:pt>
                      <c:pt idx="40">
                        <c:v>0.35198649370937429</c:v>
                      </c:pt>
                      <c:pt idx="41">
                        <c:v>0.49184028755338938</c:v>
                      </c:pt>
                      <c:pt idx="42">
                        <c:v>5.6435658507106634E-2</c:v>
                      </c:pt>
                      <c:pt idx="43">
                        <c:v>-0.20850987071205213</c:v>
                      </c:pt>
                      <c:pt idx="44">
                        <c:v>-5.7594270213532667E-2</c:v>
                      </c:pt>
                      <c:pt idx="45">
                        <c:v>3.1158814368019705E-3</c:v>
                      </c:pt>
                      <c:pt idx="46">
                        <c:v>0.13724029930090262</c:v>
                      </c:pt>
                      <c:pt idx="47">
                        <c:v>5.1757861098235158E-2</c:v>
                      </c:pt>
                      <c:pt idx="48">
                        <c:v>3.0754301123107272E-2</c:v>
                      </c:pt>
                      <c:pt idx="49">
                        <c:v>-0.13927997102682754</c:v>
                      </c:pt>
                      <c:pt idx="50">
                        <c:v>0.22839611622307351</c:v>
                      </c:pt>
                      <c:pt idx="51">
                        <c:v>0.42568827470583293</c:v>
                      </c:pt>
                      <c:pt idx="52">
                        <c:v>0.42971905062152527</c:v>
                      </c:pt>
                      <c:pt idx="53">
                        <c:v>0.30573612895299174</c:v>
                      </c:pt>
                      <c:pt idx="54">
                        <c:v>0.37589724539161062</c:v>
                      </c:pt>
                      <c:pt idx="55">
                        <c:v>0.4699027159091731</c:v>
                      </c:pt>
                      <c:pt idx="56">
                        <c:v>0.61263103209968561</c:v>
                      </c:pt>
                      <c:pt idx="57">
                        <c:v>0.34185801365004109</c:v>
                      </c:pt>
                      <c:pt idx="58">
                        <c:v>0.31096546401982805</c:v>
                      </c:pt>
                      <c:pt idx="59">
                        <c:v>0.26547771556251493</c:v>
                      </c:pt>
                      <c:pt idx="60">
                        <c:v>0.27347139815797006</c:v>
                      </c:pt>
                      <c:pt idx="61">
                        <c:v>0.23451178743465656</c:v>
                      </c:pt>
                      <c:pt idx="62">
                        <c:v>-7.2157344185677624E-2</c:v>
                      </c:pt>
                      <c:pt idx="63">
                        <c:v>-0.28540969810988837</c:v>
                      </c:pt>
                      <c:pt idx="64">
                        <c:v>-0.26556468485773327</c:v>
                      </c:pt>
                      <c:pt idx="65">
                        <c:v>-0.20215256628207029</c:v>
                      </c:pt>
                      <c:pt idx="66">
                        <c:v>-0.20783125121819529</c:v>
                      </c:pt>
                      <c:pt idx="67">
                        <c:v>-0.4219981083406652</c:v>
                      </c:pt>
                      <c:pt idx="68">
                        <c:v>-0.30329516235787096</c:v>
                      </c:pt>
                      <c:pt idx="69">
                        <c:v>-0.16972030081519693</c:v>
                      </c:pt>
                      <c:pt idx="70">
                        <c:v>-0.44694223057145432</c:v>
                      </c:pt>
                      <c:pt idx="71">
                        <c:v>-0.27632887802838124</c:v>
                      </c:pt>
                      <c:pt idx="72">
                        <c:v>-0.4653055287986384</c:v>
                      </c:pt>
                      <c:pt idx="73">
                        <c:v>-0.38186908017068971</c:v>
                      </c:pt>
                      <c:pt idx="74">
                        <c:v>-0.40018631788479914</c:v>
                      </c:pt>
                      <c:pt idx="75">
                        <c:v>-0.43809977998128991</c:v>
                      </c:pt>
                      <c:pt idx="76">
                        <c:v>-0.37084532331504927</c:v>
                      </c:pt>
                      <c:pt idx="77">
                        <c:v>-0.90706271689766971</c:v>
                      </c:pt>
                      <c:pt idx="78">
                        <c:v>-0.60049203184629052</c:v>
                      </c:pt>
                      <c:pt idx="79">
                        <c:v>-0.40463414253134866</c:v>
                      </c:pt>
                      <c:pt idx="80">
                        <c:v>-0.31338544182165062</c:v>
                      </c:pt>
                      <c:pt idx="81">
                        <c:v>-0.92403458399143723</c:v>
                      </c:pt>
                      <c:pt idx="82">
                        <c:v>-0.9647288740236668</c:v>
                      </c:pt>
                      <c:pt idx="83">
                        <c:v>-0.79007494206806661</c:v>
                      </c:pt>
                      <c:pt idx="84">
                        <c:v>-0.87784341688218115</c:v>
                      </c:pt>
                      <c:pt idx="85">
                        <c:v>-1.0028410079885108</c:v>
                      </c:pt>
                      <c:pt idx="86">
                        <c:v>-0.37208256195453787</c:v>
                      </c:pt>
                      <c:pt idx="87">
                        <c:v>-0.51810257312874153</c:v>
                      </c:pt>
                      <c:pt idx="88">
                        <c:v>-0.43915870216498204</c:v>
                      </c:pt>
                      <c:pt idx="89">
                        <c:v>-0.72999729648979916</c:v>
                      </c:pt>
                      <c:pt idx="90">
                        <c:v>-0.33085073811427379</c:v>
                      </c:pt>
                      <c:pt idx="91">
                        <c:v>0.14083013243465389</c:v>
                      </c:pt>
                      <c:pt idx="92">
                        <c:v>0.49744325925640692</c:v>
                      </c:pt>
                      <c:pt idx="93">
                        <c:v>0.53488173182097121</c:v>
                      </c:pt>
                      <c:pt idx="94">
                        <c:v>0.26457770435633843</c:v>
                      </c:pt>
                      <c:pt idx="95">
                        <c:v>0.25634463861295781</c:v>
                      </c:pt>
                      <c:pt idx="96">
                        <c:v>0.68282182455908214</c:v>
                      </c:pt>
                      <c:pt idx="97">
                        <c:v>1.0412877884727414</c:v>
                      </c:pt>
                      <c:pt idx="98">
                        <c:v>1.0742247432857908</c:v>
                      </c:pt>
                      <c:pt idx="99">
                        <c:v>1.1067863604261892</c:v>
                      </c:pt>
                      <c:pt idx="100">
                        <c:v>1.1676971488710792</c:v>
                      </c:pt>
                      <c:pt idx="101">
                        <c:v>1.3649803935057581</c:v>
                      </c:pt>
                      <c:pt idx="102">
                        <c:v>1.4292262257603363</c:v>
                      </c:pt>
                      <c:pt idx="103">
                        <c:v>1.1608064771313114</c:v>
                      </c:pt>
                      <c:pt idx="104">
                        <c:v>1.2453731422296854</c:v>
                      </c:pt>
                      <c:pt idx="105">
                        <c:v>1.3909975691958527</c:v>
                      </c:pt>
                      <c:pt idx="106">
                        <c:v>1.2427193429427446</c:v>
                      </c:pt>
                      <c:pt idx="107">
                        <c:v>1.0775673964068728</c:v>
                      </c:pt>
                      <c:pt idx="108">
                        <c:v>1.2047923896540274</c:v>
                      </c:pt>
                      <c:pt idx="109">
                        <c:v>1.2532960302484981</c:v>
                      </c:pt>
                      <c:pt idx="110">
                        <c:v>1.0513726252293312</c:v>
                      </c:pt>
                      <c:pt idx="111">
                        <c:v>0.84991458410158516</c:v>
                      </c:pt>
                      <c:pt idx="112">
                        <c:v>0.78740499873440084</c:v>
                      </c:pt>
                      <c:pt idx="113">
                        <c:v>1.1675093377514254</c:v>
                      </c:pt>
                      <c:pt idx="114">
                        <c:v>1.1970318088900942</c:v>
                      </c:pt>
                      <c:pt idx="115">
                        <c:v>1.0397424929109769</c:v>
                      </c:pt>
                      <c:pt idx="116">
                        <c:v>0.84520014582037173</c:v>
                      </c:pt>
                      <c:pt idx="117">
                        <c:v>1.0533207972671446</c:v>
                      </c:pt>
                      <c:pt idx="118">
                        <c:v>0.45006084844527205</c:v>
                      </c:pt>
                      <c:pt idx="119">
                        <c:v>0.27676830003828662</c:v>
                      </c:pt>
                      <c:pt idx="120">
                        <c:v>0.4359526598061948</c:v>
                      </c:pt>
                      <c:pt idx="121">
                        <c:v>9.7906827490663095E-2</c:v>
                      </c:pt>
                      <c:pt idx="122">
                        <c:v>-0.1125545023158093</c:v>
                      </c:pt>
                      <c:pt idx="123">
                        <c:v>-0.43887286511098994</c:v>
                      </c:pt>
                      <c:pt idx="124">
                        <c:v>-0.30878818287825499</c:v>
                      </c:pt>
                      <c:pt idx="125">
                        <c:v>3.6060883686198641E-2</c:v>
                      </c:pt>
                      <c:pt idx="126">
                        <c:v>-0.23011477585433102</c:v>
                      </c:pt>
                      <c:pt idx="127">
                        <c:v>-0.49520338635642303</c:v>
                      </c:pt>
                      <c:pt idx="128">
                        <c:v>-0.37816373064474318</c:v>
                      </c:pt>
                      <c:pt idx="129">
                        <c:v>-0.1019756916091881</c:v>
                      </c:pt>
                      <c:pt idx="130">
                        <c:v>-7.5846726594176989E-2</c:v>
                      </c:pt>
                      <c:pt idx="131">
                        <c:v>7.9182279531558541E-2</c:v>
                      </c:pt>
                      <c:pt idx="132">
                        <c:v>-8.8049854702932973E-2</c:v>
                      </c:pt>
                      <c:pt idx="133">
                        <c:v>-5.4088757390930303E-3</c:v>
                      </c:pt>
                      <c:pt idx="134">
                        <c:v>-0.5199506178573764</c:v>
                      </c:pt>
                      <c:pt idx="135">
                        <c:v>-0.3404703737114852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5-CAB4-4656-B934-0952CA6B4099}"/>
                  </c:ext>
                </c:extLst>
              </c15:ser>
            </c15:filteredScatterSeries>
            <c15:filteredScatte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Θερμοκρασία!$S$2</c15:sqref>
                        </c15:formulaRef>
                      </c:ext>
                    </c:extLst>
                    <c:strCache>
                      <c:ptCount val="1"/>
                      <c:pt idx="0">
                        <c:v>15ωρη πρόγνωση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Θερμοκρασία!$M$3:$M$138</c15:sqref>
                        </c15:formulaRef>
                      </c:ext>
                    </c:extLst>
                    <c:numCache>
                      <c:formatCode>d/m/yy\ h:mm;@</c:formatCode>
                      <c:ptCount val="136"/>
                      <c:pt idx="0">
                        <c:v>38336</c:v>
                      </c:pt>
                      <c:pt idx="1">
                        <c:v>38336.125</c:v>
                      </c:pt>
                      <c:pt idx="2">
                        <c:v>38336.25</c:v>
                      </c:pt>
                      <c:pt idx="3">
                        <c:v>38336.375</c:v>
                      </c:pt>
                      <c:pt idx="4">
                        <c:v>38336.5</c:v>
                      </c:pt>
                      <c:pt idx="5">
                        <c:v>38336.625</c:v>
                      </c:pt>
                      <c:pt idx="6">
                        <c:v>38336.75</c:v>
                      </c:pt>
                      <c:pt idx="7">
                        <c:v>38336.875</c:v>
                      </c:pt>
                      <c:pt idx="8">
                        <c:v>38337</c:v>
                      </c:pt>
                      <c:pt idx="9">
                        <c:v>38337.125</c:v>
                      </c:pt>
                      <c:pt idx="10">
                        <c:v>38337.25</c:v>
                      </c:pt>
                      <c:pt idx="11">
                        <c:v>38337.375</c:v>
                      </c:pt>
                      <c:pt idx="12">
                        <c:v>38337.5</c:v>
                      </c:pt>
                      <c:pt idx="13">
                        <c:v>38337.625</c:v>
                      </c:pt>
                      <c:pt idx="14">
                        <c:v>38337.75</c:v>
                      </c:pt>
                      <c:pt idx="15">
                        <c:v>38337.875</c:v>
                      </c:pt>
                      <c:pt idx="16">
                        <c:v>38338</c:v>
                      </c:pt>
                      <c:pt idx="17">
                        <c:v>38338.125</c:v>
                      </c:pt>
                      <c:pt idx="18">
                        <c:v>38338.25</c:v>
                      </c:pt>
                      <c:pt idx="19">
                        <c:v>38338.375</c:v>
                      </c:pt>
                      <c:pt idx="20">
                        <c:v>38338.5</c:v>
                      </c:pt>
                      <c:pt idx="21">
                        <c:v>38338.625</c:v>
                      </c:pt>
                      <c:pt idx="22">
                        <c:v>38338.75</c:v>
                      </c:pt>
                      <c:pt idx="23">
                        <c:v>38338.875</c:v>
                      </c:pt>
                      <c:pt idx="24">
                        <c:v>38339</c:v>
                      </c:pt>
                      <c:pt idx="25">
                        <c:v>38339.125</c:v>
                      </c:pt>
                      <c:pt idx="26">
                        <c:v>38339.25</c:v>
                      </c:pt>
                      <c:pt idx="27">
                        <c:v>38339.375</c:v>
                      </c:pt>
                      <c:pt idx="28">
                        <c:v>38339.5</c:v>
                      </c:pt>
                      <c:pt idx="29">
                        <c:v>38339.625</c:v>
                      </c:pt>
                      <c:pt idx="30">
                        <c:v>38339.75</c:v>
                      </c:pt>
                      <c:pt idx="31">
                        <c:v>38339.875</c:v>
                      </c:pt>
                      <c:pt idx="32">
                        <c:v>38340</c:v>
                      </c:pt>
                      <c:pt idx="33">
                        <c:v>38340.125</c:v>
                      </c:pt>
                      <c:pt idx="34">
                        <c:v>38340.25</c:v>
                      </c:pt>
                      <c:pt idx="35">
                        <c:v>38340.375</c:v>
                      </c:pt>
                      <c:pt idx="36">
                        <c:v>38340.5</c:v>
                      </c:pt>
                      <c:pt idx="37">
                        <c:v>38340.625</c:v>
                      </c:pt>
                      <c:pt idx="38">
                        <c:v>38340.75</c:v>
                      </c:pt>
                      <c:pt idx="39">
                        <c:v>38340.875</c:v>
                      </c:pt>
                      <c:pt idx="40">
                        <c:v>38341</c:v>
                      </c:pt>
                      <c:pt idx="41">
                        <c:v>38341.125</c:v>
                      </c:pt>
                      <c:pt idx="42">
                        <c:v>38341.25</c:v>
                      </c:pt>
                      <c:pt idx="43">
                        <c:v>38341.375</c:v>
                      </c:pt>
                      <c:pt idx="44">
                        <c:v>38341.5</c:v>
                      </c:pt>
                      <c:pt idx="45">
                        <c:v>38341.625</c:v>
                      </c:pt>
                      <c:pt idx="46">
                        <c:v>38341.75</c:v>
                      </c:pt>
                      <c:pt idx="47">
                        <c:v>38341.875</c:v>
                      </c:pt>
                      <c:pt idx="48">
                        <c:v>38342</c:v>
                      </c:pt>
                      <c:pt idx="49">
                        <c:v>38342.125</c:v>
                      </c:pt>
                      <c:pt idx="50">
                        <c:v>38342.25</c:v>
                      </c:pt>
                      <c:pt idx="51">
                        <c:v>38342.375</c:v>
                      </c:pt>
                      <c:pt idx="52">
                        <c:v>38342.5</c:v>
                      </c:pt>
                      <c:pt idx="53">
                        <c:v>38342.625</c:v>
                      </c:pt>
                      <c:pt idx="54">
                        <c:v>38342.75</c:v>
                      </c:pt>
                      <c:pt idx="55">
                        <c:v>38342.875</c:v>
                      </c:pt>
                      <c:pt idx="56">
                        <c:v>38343</c:v>
                      </c:pt>
                      <c:pt idx="57">
                        <c:v>38343.125</c:v>
                      </c:pt>
                      <c:pt idx="58">
                        <c:v>38343.25</c:v>
                      </c:pt>
                      <c:pt idx="59">
                        <c:v>38343.375</c:v>
                      </c:pt>
                      <c:pt idx="60">
                        <c:v>38343.5</c:v>
                      </c:pt>
                      <c:pt idx="61">
                        <c:v>38343.625</c:v>
                      </c:pt>
                      <c:pt idx="62">
                        <c:v>38343.75</c:v>
                      </c:pt>
                      <c:pt idx="63">
                        <c:v>38343.875</c:v>
                      </c:pt>
                      <c:pt idx="64">
                        <c:v>38344</c:v>
                      </c:pt>
                      <c:pt idx="65">
                        <c:v>38344.125</c:v>
                      </c:pt>
                      <c:pt idx="66">
                        <c:v>38344.25</c:v>
                      </c:pt>
                      <c:pt idx="67">
                        <c:v>38344.375</c:v>
                      </c:pt>
                      <c:pt idx="68">
                        <c:v>38344.5</c:v>
                      </c:pt>
                      <c:pt idx="69">
                        <c:v>38344.625</c:v>
                      </c:pt>
                      <c:pt idx="70">
                        <c:v>38344.75</c:v>
                      </c:pt>
                      <c:pt idx="71">
                        <c:v>38344.875</c:v>
                      </c:pt>
                      <c:pt idx="72">
                        <c:v>38345</c:v>
                      </c:pt>
                      <c:pt idx="73">
                        <c:v>38345.125</c:v>
                      </c:pt>
                      <c:pt idx="74">
                        <c:v>38345.25</c:v>
                      </c:pt>
                      <c:pt idx="75">
                        <c:v>38345.375</c:v>
                      </c:pt>
                      <c:pt idx="76">
                        <c:v>38345.5</c:v>
                      </c:pt>
                      <c:pt idx="77">
                        <c:v>38345.625</c:v>
                      </c:pt>
                      <c:pt idx="78">
                        <c:v>38345.75</c:v>
                      </c:pt>
                      <c:pt idx="79">
                        <c:v>38345.875</c:v>
                      </c:pt>
                      <c:pt idx="80">
                        <c:v>38346</c:v>
                      </c:pt>
                      <c:pt idx="81">
                        <c:v>38346.125</c:v>
                      </c:pt>
                      <c:pt idx="82">
                        <c:v>38346.25</c:v>
                      </c:pt>
                      <c:pt idx="83">
                        <c:v>38346.375</c:v>
                      </c:pt>
                      <c:pt idx="84">
                        <c:v>38346.5</c:v>
                      </c:pt>
                      <c:pt idx="85">
                        <c:v>38346.625</c:v>
                      </c:pt>
                      <c:pt idx="86">
                        <c:v>38346.75</c:v>
                      </c:pt>
                      <c:pt idx="87">
                        <c:v>38346.875</c:v>
                      </c:pt>
                      <c:pt idx="88">
                        <c:v>38347</c:v>
                      </c:pt>
                      <c:pt idx="89">
                        <c:v>38347.125</c:v>
                      </c:pt>
                      <c:pt idx="90">
                        <c:v>38347.25</c:v>
                      </c:pt>
                      <c:pt idx="91">
                        <c:v>38347.375</c:v>
                      </c:pt>
                      <c:pt idx="92">
                        <c:v>38347.5</c:v>
                      </c:pt>
                      <c:pt idx="93">
                        <c:v>38347.625</c:v>
                      </c:pt>
                      <c:pt idx="94">
                        <c:v>38347.75</c:v>
                      </c:pt>
                      <c:pt idx="95">
                        <c:v>38347.875</c:v>
                      </c:pt>
                      <c:pt idx="96">
                        <c:v>38348</c:v>
                      </c:pt>
                      <c:pt idx="97">
                        <c:v>38348.125</c:v>
                      </c:pt>
                      <c:pt idx="98">
                        <c:v>38348.25</c:v>
                      </c:pt>
                      <c:pt idx="99">
                        <c:v>38348.375</c:v>
                      </c:pt>
                      <c:pt idx="100">
                        <c:v>38348.5</c:v>
                      </c:pt>
                      <c:pt idx="101">
                        <c:v>38348.625</c:v>
                      </c:pt>
                      <c:pt idx="102">
                        <c:v>38348.75</c:v>
                      </c:pt>
                      <c:pt idx="103">
                        <c:v>38348.875</c:v>
                      </c:pt>
                      <c:pt idx="104">
                        <c:v>38349</c:v>
                      </c:pt>
                      <c:pt idx="105">
                        <c:v>38349.125</c:v>
                      </c:pt>
                      <c:pt idx="106">
                        <c:v>38349.25</c:v>
                      </c:pt>
                      <c:pt idx="107">
                        <c:v>38349.375</c:v>
                      </c:pt>
                      <c:pt idx="108">
                        <c:v>38349.5</c:v>
                      </c:pt>
                      <c:pt idx="109">
                        <c:v>38349.625</c:v>
                      </c:pt>
                      <c:pt idx="110">
                        <c:v>38349.75</c:v>
                      </c:pt>
                      <c:pt idx="111">
                        <c:v>38349.875</c:v>
                      </c:pt>
                      <c:pt idx="112">
                        <c:v>38350</c:v>
                      </c:pt>
                      <c:pt idx="113">
                        <c:v>38350.125</c:v>
                      </c:pt>
                      <c:pt idx="114">
                        <c:v>38350.25</c:v>
                      </c:pt>
                      <c:pt idx="115">
                        <c:v>38350.375</c:v>
                      </c:pt>
                      <c:pt idx="116">
                        <c:v>38350.5</c:v>
                      </c:pt>
                      <c:pt idx="117">
                        <c:v>38350.625</c:v>
                      </c:pt>
                      <c:pt idx="118">
                        <c:v>38350.75</c:v>
                      </c:pt>
                      <c:pt idx="119">
                        <c:v>38350.875</c:v>
                      </c:pt>
                      <c:pt idx="120">
                        <c:v>38351</c:v>
                      </c:pt>
                      <c:pt idx="121">
                        <c:v>38351.125</c:v>
                      </c:pt>
                      <c:pt idx="122">
                        <c:v>38351.25</c:v>
                      </c:pt>
                      <c:pt idx="123">
                        <c:v>38351.375</c:v>
                      </c:pt>
                      <c:pt idx="124">
                        <c:v>38351.5</c:v>
                      </c:pt>
                      <c:pt idx="125">
                        <c:v>38351.625</c:v>
                      </c:pt>
                      <c:pt idx="126">
                        <c:v>38351.75</c:v>
                      </c:pt>
                      <c:pt idx="127">
                        <c:v>38351.875</c:v>
                      </c:pt>
                      <c:pt idx="128">
                        <c:v>38352</c:v>
                      </c:pt>
                      <c:pt idx="129">
                        <c:v>38352.125</c:v>
                      </c:pt>
                      <c:pt idx="130">
                        <c:v>38352.25</c:v>
                      </c:pt>
                      <c:pt idx="131">
                        <c:v>38352.375</c:v>
                      </c:pt>
                      <c:pt idx="132">
                        <c:v>38352.5</c:v>
                      </c:pt>
                      <c:pt idx="133">
                        <c:v>38352.625</c:v>
                      </c:pt>
                      <c:pt idx="134">
                        <c:v>38352.75</c:v>
                      </c:pt>
                      <c:pt idx="135">
                        <c:v>38352.87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Θερμοκρασία!$S$3:$S$138</c15:sqref>
                        </c15:formulaRef>
                      </c:ext>
                    </c:extLst>
                    <c:numCache>
                      <c:formatCode>General</c:formatCode>
                      <c:ptCount val="136"/>
                      <c:pt idx="0">
                        <c:v>-0.66705513052052134</c:v>
                      </c:pt>
                      <c:pt idx="1">
                        <c:v>-0.69603781575975054</c:v>
                      </c:pt>
                      <c:pt idx="2">
                        <c:v>-0.35603625557007146</c:v>
                      </c:pt>
                      <c:pt idx="3">
                        <c:v>-0.32316816481283783</c:v>
                      </c:pt>
                      <c:pt idx="4">
                        <c:v>-0.35837957721382341</c:v>
                      </c:pt>
                      <c:pt idx="5">
                        <c:v>-0.28896358203055489</c:v>
                      </c:pt>
                      <c:pt idx="6">
                        <c:v>-0.19559330557391358</c:v>
                      </c:pt>
                      <c:pt idx="7">
                        <c:v>-0.17922052718563952</c:v>
                      </c:pt>
                      <c:pt idx="8">
                        <c:v>-0.39025235782063145</c:v>
                      </c:pt>
                      <c:pt idx="9">
                        <c:v>-0.49283873408889511</c:v>
                      </c:pt>
                      <c:pt idx="10">
                        <c:v>-0.5697405601133847</c:v>
                      </c:pt>
                      <c:pt idx="11">
                        <c:v>-0.76234606348787426</c:v>
                      </c:pt>
                      <c:pt idx="12">
                        <c:v>-1.1004065613116887</c:v>
                      </c:pt>
                      <c:pt idx="13">
                        <c:v>-0.9547028594394209</c:v>
                      </c:pt>
                      <c:pt idx="14">
                        <c:v>-1.2263647362550127</c:v>
                      </c:pt>
                      <c:pt idx="15">
                        <c:v>-1.1951370587249892</c:v>
                      </c:pt>
                      <c:pt idx="16">
                        <c:v>-0.90750226386607324</c:v>
                      </c:pt>
                      <c:pt idx="17">
                        <c:v>-0.89367512788861903</c:v>
                      </c:pt>
                      <c:pt idx="18">
                        <c:v>-0.82270978430171859</c:v>
                      </c:pt>
                      <c:pt idx="19">
                        <c:v>-0.644727224493296</c:v>
                      </c:pt>
                      <c:pt idx="20">
                        <c:v>-0.61772643994089138</c:v>
                      </c:pt>
                      <c:pt idx="21">
                        <c:v>-0.60844579396471254</c:v>
                      </c:pt>
                      <c:pt idx="22">
                        <c:v>-0.54249163559291713</c:v>
                      </c:pt>
                      <c:pt idx="23">
                        <c:v>-0.2733007187699788</c:v>
                      </c:pt>
                      <c:pt idx="24">
                        <c:v>-0.3342312905325564</c:v>
                      </c:pt>
                      <c:pt idx="25">
                        <c:v>-0.21153490654913912</c:v>
                      </c:pt>
                      <c:pt idx="26">
                        <c:v>-8.1471882775333321E-2</c:v>
                      </c:pt>
                      <c:pt idx="27">
                        <c:v>4.5004663346035326E-2</c:v>
                      </c:pt>
                      <c:pt idx="28">
                        <c:v>0.38493738242666337</c:v>
                      </c:pt>
                      <c:pt idx="29">
                        <c:v>0.49126836538038376</c:v>
                      </c:pt>
                      <c:pt idx="30">
                        <c:v>0.61341687020871105</c:v>
                      </c:pt>
                      <c:pt idx="31">
                        <c:v>0.94949708923113141</c:v>
                      </c:pt>
                      <c:pt idx="32">
                        <c:v>0.58277394092616142</c:v>
                      </c:pt>
                      <c:pt idx="33">
                        <c:v>0.47342116303373827</c:v>
                      </c:pt>
                      <c:pt idx="34">
                        <c:v>0.68026943295618558</c:v>
                      </c:pt>
                      <c:pt idx="35">
                        <c:v>0.43422944996301882</c:v>
                      </c:pt>
                      <c:pt idx="36">
                        <c:v>0.57361392012291712</c:v>
                      </c:pt>
                      <c:pt idx="37">
                        <c:v>0.81495012961079072</c:v>
                      </c:pt>
                      <c:pt idx="38">
                        <c:v>0.98448845592270784</c:v>
                      </c:pt>
                      <c:pt idx="39">
                        <c:v>0.84525920130271626</c:v>
                      </c:pt>
                      <c:pt idx="40">
                        <c:v>0.79783877669585879</c:v>
                      </c:pt>
                      <c:pt idx="41">
                        <c:v>0.79285091936835084</c:v>
                      </c:pt>
                      <c:pt idx="42">
                        <c:v>0.27879784434976407</c:v>
                      </c:pt>
                      <c:pt idx="43">
                        <c:v>0.30098711226792685</c:v>
                      </c:pt>
                      <c:pt idx="44">
                        <c:v>-4.0122532597882954E-3</c:v>
                      </c:pt>
                      <c:pt idx="45">
                        <c:v>-0.29533431662280113</c:v>
                      </c:pt>
                      <c:pt idx="46">
                        <c:v>-0.14691564986843333</c:v>
                      </c:pt>
                      <c:pt idx="47">
                        <c:v>-0.14545656903675747</c:v>
                      </c:pt>
                      <c:pt idx="48">
                        <c:v>-3.7205507236838936E-2</c:v>
                      </c:pt>
                      <c:pt idx="49">
                        <c:v>0.11424985997452822</c:v>
                      </c:pt>
                      <c:pt idx="50">
                        <c:v>0.20109304228488928</c:v>
                      </c:pt>
                      <c:pt idx="51">
                        <c:v>5.3497675728344393E-2</c:v>
                      </c:pt>
                      <c:pt idx="52">
                        <c:v>0.22321678826110258</c:v>
                      </c:pt>
                      <c:pt idx="53">
                        <c:v>0.26755492129840869</c:v>
                      </c:pt>
                      <c:pt idx="54">
                        <c:v>0.25744181286984985</c:v>
                      </c:pt>
                      <c:pt idx="55">
                        <c:v>0.35247675782632359</c:v>
                      </c:pt>
                      <c:pt idx="56">
                        <c:v>0.49502756488263361</c:v>
                      </c:pt>
                      <c:pt idx="57">
                        <c:v>0.49439879463760084</c:v>
                      </c:pt>
                      <c:pt idx="58">
                        <c:v>0.54515915208731136</c:v>
                      </c:pt>
                      <c:pt idx="59">
                        <c:v>0.3630310939055113</c:v>
                      </c:pt>
                      <c:pt idx="60">
                        <c:v>0.33221959285735086</c:v>
                      </c:pt>
                      <c:pt idx="61">
                        <c:v>0.25398956487838187</c:v>
                      </c:pt>
                      <c:pt idx="62">
                        <c:v>0.15365831049046105</c:v>
                      </c:pt>
                      <c:pt idx="63">
                        <c:v>0.12215516678694349</c:v>
                      </c:pt>
                      <c:pt idx="64">
                        <c:v>-5.4481826016751493E-2</c:v>
                      </c:pt>
                      <c:pt idx="65">
                        <c:v>-0.20518476708965955</c:v>
                      </c:pt>
                      <c:pt idx="66">
                        <c:v>-0.24659444927204152</c:v>
                      </c:pt>
                      <c:pt idx="67">
                        <c:v>-0.3218223241413688</c:v>
                      </c:pt>
                      <c:pt idx="68">
                        <c:v>-0.35114527431880843</c:v>
                      </c:pt>
                      <c:pt idx="69">
                        <c:v>-0.40299507255844313</c:v>
                      </c:pt>
                      <c:pt idx="70">
                        <c:v>-0.24366657247883347</c:v>
                      </c:pt>
                      <c:pt idx="71">
                        <c:v>-0.14999789186506363</c:v>
                      </c:pt>
                      <c:pt idx="72">
                        <c:v>-0.37372578829832903</c:v>
                      </c:pt>
                      <c:pt idx="73">
                        <c:v>-0.20607940159349805</c:v>
                      </c:pt>
                      <c:pt idx="74">
                        <c:v>-0.36704733641198506</c:v>
                      </c:pt>
                      <c:pt idx="75">
                        <c:v>-0.43291162820684104</c:v>
                      </c:pt>
                      <c:pt idx="76">
                        <c:v>-0.41860014220431291</c:v>
                      </c:pt>
                      <c:pt idx="77">
                        <c:v>-0.45397651070763961</c:v>
                      </c:pt>
                      <c:pt idx="78">
                        <c:v>-0.38530327822130284</c:v>
                      </c:pt>
                      <c:pt idx="79">
                        <c:v>-0.72532668925606458</c:v>
                      </c:pt>
                      <c:pt idx="80">
                        <c:v>-0.53150789672039089</c:v>
                      </c:pt>
                      <c:pt idx="81">
                        <c:v>-0.46242478201511455</c:v>
                      </c:pt>
                      <c:pt idx="82">
                        <c:v>-0.49321980581411362</c:v>
                      </c:pt>
                      <c:pt idx="83">
                        <c:v>-0.74897715763142103</c:v>
                      </c:pt>
                      <c:pt idx="84">
                        <c:v>-0.67077756048564319</c:v>
                      </c:pt>
                      <c:pt idx="85">
                        <c:v>-0.70715900000178677</c:v>
                      </c:pt>
                      <c:pt idx="86">
                        <c:v>-1.0020412376788113</c:v>
                      </c:pt>
                      <c:pt idx="87">
                        <c:v>-1.0518498536284784</c:v>
                      </c:pt>
                      <c:pt idx="88">
                        <c:v>-0.48327492326650917</c:v>
                      </c:pt>
                      <c:pt idx="89">
                        <c:v>-0.56040348287887554</c:v>
                      </c:pt>
                      <c:pt idx="90">
                        <c:v>-0.33993526737427299</c:v>
                      </c:pt>
                      <c:pt idx="91">
                        <c:v>-0.30149381576340722</c:v>
                      </c:pt>
                      <c:pt idx="92">
                        <c:v>-0.16311285716446014</c:v>
                      </c:pt>
                      <c:pt idx="93">
                        <c:v>1.3282981338007122E-3</c:v>
                      </c:pt>
                      <c:pt idx="94">
                        <c:v>0.24213273034131264</c:v>
                      </c:pt>
                      <c:pt idx="95">
                        <c:v>0.47920218766738404</c:v>
                      </c:pt>
                      <c:pt idx="96">
                        <c:v>0.52743869408787192</c:v>
                      </c:pt>
                      <c:pt idx="97">
                        <c:v>0.57010758062778644</c:v>
                      </c:pt>
                      <c:pt idx="98">
                        <c:v>0.71273282453081466</c:v>
                      </c:pt>
                      <c:pt idx="99">
                        <c:v>0.76305602198209133</c:v>
                      </c:pt>
                      <c:pt idx="100">
                        <c:v>0.81734040581534217</c:v>
                      </c:pt>
                      <c:pt idx="101">
                        <c:v>1.0724446751195538</c:v>
                      </c:pt>
                      <c:pt idx="102">
                        <c:v>1.2546736133654228</c:v>
                      </c:pt>
                      <c:pt idx="103">
                        <c:v>1.3841313561645532</c:v>
                      </c:pt>
                      <c:pt idx="104">
                        <c:v>1.4121138609030393</c:v>
                      </c:pt>
                      <c:pt idx="105">
                        <c:v>1.1885422349871027</c:v>
                      </c:pt>
                      <c:pt idx="106">
                        <c:v>1.194760132810279</c:v>
                      </c:pt>
                      <c:pt idx="107">
                        <c:v>1.2010589547577943</c:v>
                      </c:pt>
                      <c:pt idx="108">
                        <c:v>1.0023332731267003</c:v>
                      </c:pt>
                      <c:pt idx="109">
                        <c:v>0.97109851427644789</c:v>
                      </c:pt>
                      <c:pt idx="110">
                        <c:v>1.1464039586339534</c:v>
                      </c:pt>
                      <c:pt idx="111">
                        <c:v>1.1232993917203666</c:v>
                      </c:pt>
                      <c:pt idx="112">
                        <c:v>0.9785490772619283</c:v>
                      </c:pt>
                      <c:pt idx="113">
                        <c:v>0.90753824428425123</c:v>
                      </c:pt>
                      <c:pt idx="114">
                        <c:v>0.79277600936769876</c:v>
                      </c:pt>
                      <c:pt idx="115">
                        <c:v>0.91145995177107975</c:v>
                      </c:pt>
                      <c:pt idx="116">
                        <c:v>0.90848363019162282</c:v>
                      </c:pt>
                      <c:pt idx="117">
                        <c:v>0.92207978451237405</c:v>
                      </c:pt>
                      <c:pt idx="118">
                        <c:v>0.96499121623396955</c:v>
                      </c:pt>
                      <c:pt idx="119">
                        <c:v>1.1003552406485539</c:v>
                      </c:pt>
                      <c:pt idx="120">
                        <c:v>0.52473433942910042</c:v>
                      </c:pt>
                      <c:pt idx="121">
                        <c:v>0.28704612543060459</c:v>
                      </c:pt>
                      <c:pt idx="122">
                        <c:v>0.29614239562649564</c:v>
                      </c:pt>
                      <c:pt idx="123">
                        <c:v>-0.18840635840483749</c:v>
                      </c:pt>
                      <c:pt idx="124">
                        <c:v>-0.30599904726127497</c:v>
                      </c:pt>
                      <c:pt idx="125">
                        <c:v>-0.35932804859612727</c:v>
                      </c:pt>
                      <c:pt idx="126">
                        <c:v>-0.3463593216870639</c:v>
                      </c:pt>
                      <c:pt idx="127">
                        <c:v>-0.13582171561867795</c:v>
                      </c:pt>
                      <c:pt idx="128">
                        <c:v>-0.25008310411684537</c:v>
                      </c:pt>
                      <c:pt idx="129">
                        <c:v>-0.30899388918159965</c:v>
                      </c:pt>
                      <c:pt idx="130">
                        <c:v>-0.17099965568677583</c:v>
                      </c:pt>
                      <c:pt idx="131">
                        <c:v>-0.15594752359937566</c:v>
                      </c:pt>
                      <c:pt idx="132">
                        <c:v>-0.23921230365376084</c:v>
                      </c:pt>
                      <c:pt idx="133">
                        <c:v>7.0240708566572385E-3</c:v>
                      </c:pt>
                      <c:pt idx="134">
                        <c:v>1.3185579217854765E-2</c:v>
                      </c:pt>
                      <c:pt idx="135">
                        <c:v>8.9715472991665407E-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CAB4-4656-B934-0952CA6B4099}"/>
                  </c:ext>
                </c:extLst>
              </c15:ser>
            </c15:filteredScatterSeries>
            <c15:filteredScatte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Θερμοκρασία!$T$2</c15:sqref>
                        </c15:formulaRef>
                      </c:ext>
                    </c:extLst>
                    <c:strCache>
                      <c:ptCount val="1"/>
                      <c:pt idx="0">
                        <c:v>18ωρη πρόγνωση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Θερμοκρασία!$M$3:$M$138</c15:sqref>
                        </c15:formulaRef>
                      </c:ext>
                    </c:extLst>
                    <c:numCache>
                      <c:formatCode>d/m/yy\ h:mm;@</c:formatCode>
                      <c:ptCount val="136"/>
                      <c:pt idx="0">
                        <c:v>38336</c:v>
                      </c:pt>
                      <c:pt idx="1">
                        <c:v>38336.125</c:v>
                      </c:pt>
                      <c:pt idx="2">
                        <c:v>38336.25</c:v>
                      </c:pt>
                      <c:pt idx="3">
                        <c:v>38336.375</c:v>
                      </c:pt>
                      <c:pt idx="4">
                        <c:v>38336.5</c:v>
                      </c:pt>
                      <c:pt idx="5">
                        <c:v>38336.625</c:v>
                      </c:pt>
                      <c:pt idx="6">
                        <c:v>38336.75</c:v>
                      </c:pt>
                      <c:pt idx="7">
                        <c:v>38336.875</c:v>
                      </c:pt>
                      <c:pt idx="8">
                        <c:v>38337</c:v>
                      </c:pt>
                      <c:pt idx="9">
                        <c:v>38337.125</c:v>
                      </c:pt>
                      <c:pt idx="10">
                        <c:v>38337.25</c:v>
                      </c:pt>
                      <c:pt idx="11">
                        <c:v>38337.375</c:v>
                      </c:pt>
                      <c:pt idx="12">
                        <c:v>38337.5</c:v>
                      </c:pt>
                      <c:pt idx="13">
                        <c:v>38337.625</c:v>
                      </c:pt>
                      <c:pt idx="14">
                        <c:v>38337.75</c:v>
                      </c:pt>
                      <c:pt idx="15">
                        <c:v>38337.875</c:v>
                      </c:pt>
                      <c:pt idx="16">
                        <c:v>38338</c:v>
                      </c:pt>
                      <c:pt idx="17">
                        <c:v>38338.125</c:v>
                      </c:pt>
                      <c:pt idx="18">
                        <c:v>38338.25</c:v>
                      </c:pt>
                      <c:pt idx="19">
                        <c:v>38338.375</c:v>
                      </c:pt>
                      <c:pt idx="20">
                        <c:v>38338.5</c:v>
                      </c:pt>
                      <c:pt idx="21">
                        <c:v>38338.625</c:v>
                      </c:pt>
                      <c:pt idx="22">
                        <c:v>38338.75</c:v>
                      </c:pt>
                      <c:pt idx="23">
                        <c:v>38338.875</c:v>
                      </c:pt>
                      <c:pt idx="24">
                        <c:v>38339</c:v>
                      </c:pt>
                      <c:pt idx="25">
                        <c:v>38339.125</c:v>
                      </c:pt>
                      <c:pt idx="26">
                        <c:v>38339.25</c:v>
                      </c:pt>
                      <c:pt idx="27">
                        <c:v>38339.375</c:v>
                      </c:pt>
                      <c:pt idx="28">
                        <c:v>38339.5</c:v>
                      </c:pt>
                      <c:pt idx="29">
                        <c:v>38339.625</c:v>
                      </c:pt>
                      <c:pt idx="30">
                        <c:v>38339.75</c:v>
                      </c:pt>
                      <c:pt idx="31">
                        <c:v>38339.875</c:v>
                      </c:pt>
                      <c:pt idx="32">
                        <c:v>38340</c:v>
                      </c:pt>
                      <c:pt idx="33">
                        <c:v>38340.125</c:v>
                      </c:pt>
                      <c:pt idx="34">
                        <c:v>38340.25</c:v>
                      </c:pt>
                      <c:pt idx="35">
                        <c:v>38340.375</c:v>
                      </c:pt>
                      <c:pt idx="36">
                        <c:v>38340.5</c:v>
                      </c:pt>
                      <c:pt idx="37">
                        <c:v>38340.625</c:v>
                      </c:pt>
                      <c:pt idx="38">
                        <c:v>38340.75</c:v>
                      </c:pt>
                      <c:pt idx="39">
                        <c:v>38340.875</c:v>
                      </c:pt>
                      <c:pt idx="40">
                        <c:v>38341</c:v>
                      </c:pt>
                      <c:pt idx="41">
                        <c:v>38341.125</c:v>
                      </c:pt>
                      <c:pt idx="42">
                        <c:v>38341.25</c:v>
                      </c:pt>
                      <c:pt idx="43">
                        <c:v>38341.375</c:v>
                      </c:pt>
                      <c:pt idx="44">
                        <c:v>38341.5</c:v>
                      </c:pt>
                      <c:pt idx="45">
                        <c:v>38341.625</c:v>
                      </c:pt>
                      <c:pt idx="46">
                        <c:v>38341.75</c:v>
                      </c:pt>
                      <c:pt idx="47">
                        <c:v>38341.875</c:v>
                      </c:pt>
                      <c:pt idx="48">
                        <c:v>38342</c:v>
                      </c:pt>
                      <c:pt idx="49">
                        <c:v>38342.125</c:v>
                      </c:pt>
                      <c:pt idx="50">
                        <c:v>38342.25</c:v>
                      </c:pt>
                      <c:pt idx="51">
                        <c:v>38342.375</c:v>
                      </c:pt>
                      <c:pt idx="52">
                        <c:v>38342.5</c:v>
                      </c:pt>
                      <c:pt idx="53">
                        <c:v>38342.625</c:v>
                      </c:pt>
                      <c:pt idx="54">
                        <c:v>38342.75</c:v>
                      </c:pt>
                      <c:pt idx="55">
                        <c:v>38342.875</c:v>
                      </c:pt>
                      <c:pt idx="56">
                        <c:v>38343</c:v>
                      </c:pt>
                      <c:pt idx="57">
                        <c:v>38343.125</c:v>
                      </c:pt>
                      <c:pt idx="58">
                        <c:v>38343.25</c:v>
                      </c:pt>
                      <c:pt idx="59">
                        <c:v>38343.375</c:v>
                      </c:pt>
                      <c:pt idx="60">
                        <c:v>38343.5</c:v>
                      </c:pt>
                      <c:pt idx="61">
                        <c:v>38343.625</c:v>
                      </c:pt>
                      <c:pt idx="62">
                        <c:v>38343.75</c:v>
                      </c:pt>
                      <c:pt idx="63">
                        <c:v>38343.875</c:v>
                      </c:pt>
                      <c:pt idx="64">
                        <c:v>38344</c:v>
                      </c:pt>
                      <c:pt idx="65">
                        <c:v>38344.125</c:v>
                      </c:pt>
                      <c:pt idx="66">
                        <c:v>38344.25</c:v>
                      </c:pt>
                      <c:pt idx="67">
                        <c:v>38344.375</c:v>
                      </c:pt>
                      <c:pt idx="68">
                        <c:v>38344.5</c:v>
                      </c:pt>
                      <c:pt idx="69">
                        <c:v>38344.625</c:v>
                      </c:pt>
                      <c:pt idx="70">
                        <c:v>38344.75</c:v>
                      </c:pt>
                      <c:pt idx="71">
                        <c:v>38344.875</c:v>
                      </c:pt>
                      <c:pt idx="72">
                        <c:v>38345</c:v>
                      </c:pt>
                      <c:pt idx="73">
                        <c:v>38345.125</c:v>
                      </c:pt>
                      <c:pt idx="74">
                        <c:v>38345.25</c:v>
                      </c:pt>
                      <c:pt idx="75">
                        <c:v>38345.375</c:v>
                      </c:pt>
                      <c:pt idx="76">
                        <c:v>38345.5</c:v>
                      </c:pt>
                      <c:pt idx="77">
                        <c:v>38345.625</c:v>
                      </c:pt>
                      <c:pt idx="78">
                        <c:v>38345.75</c:v>
                      </c:pt>
                      <c:pt idx="79">
                        <c:v>38345.875</c:v>
                      </c:pt>
                      <c:pt idx="80">
                        <c:v>38346</c:v>
                      </c:pt>
                      <c:pt idx="81">
                        <c:v>38346.125</c:v>
                      </c:pt>
                      <c:pt idx="82">
                        <c:v>38346.25</c:v>
                      </c:pt>
                      <c:pt idx="83">
                        <c:v>38346.375</c:v>
                      </c:pt>
                      <c:pt idx="84">
                        <c:v>38346.5</c:v>
                      </c:pt>
                      <c:pt idx="85">
                        <c:v>38346.625</c:v>
                      </c:pt>
                      <c:pt idx="86">
                        <c:v>38346.75</c:v>
                      </c:pt>
                      <c:pt idx="87">
                        <c:v>38346.875</c:v>
                      </c:pt>
                      <c:pt idx="88">
                        <c:v>38347</c:v>
                      </c:pt>
                      <c:pt idx="89">
                        <c:v>38347.125</c:v>
                      </c:pt>
                      <c:pt idx="90">
                        <c:v>38347.25</c:v>
                      </c:pt>
                      <c:pt idx="91">
                        <c:v>38347.375</c:v>
                      </c:pt>
                      <c:pt idx="92">
                        <c:v>38347.5</c:v>
                      </c:pt>
                      <c:pt idx="93">
                        <c:v>38347.625</c:v>
                      </c:pt>
                      <c:pt idx="94">
                        <c:v>38347.75</c:v>
                      </c:pt>
                      <c:pt idx="95">
                        <c:v>38347.875</c:v>
                      </c:pt>
                      <c:pt idx="96">
                        <c:v>38348</c:v>
                      </c:pt>
                      <c:pt idx="97">
                        <c:v>38348.125</c:v>
                      </c:pt>
                      <c:pt idx="98">
                        <c:v>38348.25</c:v>
                      </c:pt>
                      <c:pt idx="99">
                        <c:v>38348.375</c:v>
                      </c:pt>
                      <c:pt idx="100">
                        <c:v>38348.5</c:v>
                      </c:pt>
                      <c:pt idx="101">
                        <c:v>38348.625</c:v>
                      </c:pt>
                      <c:pt idx="102">
                        <c:v>38348.75</c:v>
                      </c:pt>
                      <c:pt idx="103">
                        <c:v>38348.875</c:v>
                      </c:pt>
                      <c:pt idx="104">
                        <c:v>38349</c:v>
                      </c:pt>
                      <c:pt idx="105">
                        <c:v>38349.125</c:v>
                      </c:pt>
                      <c:pt idx="106">
                        <c:v>38349.25</c:v>
                      </c:pt>
                      <c:pt idx="107">
                        <c:v>38349.375</c:v>
                      </c:pt>
                      <c:pt idx="108">
                        <c:v>38349.5</c:v>
                      </c:pt>
                      <c:pt idx="109">
                        <c:v>38349.625</c:v>
                      </c:pt>
                      <c:pt idx="110">
                        <c:v>38349.75</c:v>
                      </c:pt>
                      <c:pt idx="111">
                        <c:v>38349.875</c:v>
                      </c:pt>
                      <c:pt idx="112">
                        <c:v>38350</c:v>
                      </c:pt>
                      <c:pt idx="113">
                        <c:v>38350.125</c:v>
                      </c:pt>
                      <c:pt idx="114">
                        <c:v>38350.25</c:v>
                      </c:pt>
                      <c:pt idx="115">
                        <c:v>38350.375</c:v>
                      </c:pt>
                      <c:pt idx="116">
                        <c:v>38350.5</c:v>
                      </c:pt>
                      <c:pt idx="117">
                        <c:v>38350.625</c:v>
                      </c:pt>
                      <c:pt idx="118">
                        <c:v>38350.75</c:v>
                      </c:pt>
                      <c:pt idx="119">
                        <c:v>38350.875</c:v>
                      </c:pt>
                      <c:pt idx="120">
                        <c:v>38351</c:v>
                      </c:pt>
                      <c:pt idx="121">
                        <c:v>38351.125</c:v>
                      </c:pt>
                      <c:pt idx="122">
                        <c:v>38351.25</c:v>
                      </c:pt>
                      <c:pt idx="123">
                        <c:v>38351.375</c:v>
                      </c:pt>
                      <c:pt idx="124">
                        <c:v>38351.5</c:v>
                      </c:pt>
                      <c:pt idx="125">
                        <c:v>38351.625</c:v>
                      </c:pt>
                      <c:pt idx="126">
                        <c:v>38351.75</c:v>
                      </c:pt>
                      <c:pt idx="127">
                        <c:v>38351.875</c:v>
                      </c:pt>
                      <c:pt idx="128">
                        <c:v>38352</c:v>
                      </c:pt>
                      <c:pt idx="129">
                        <c:v>38352.125</c:v>
                      </c:pt>
                      <c:pt idx="130">
                        <c:v>38352.25</c:v>
                      </c:pt>
                      <c:pt idx="131">
                        <c:v>38352.375</c:v>
                      </c:pt>
                      <c:pt idx="132">
                        <c:v>38352.5</c:v>
                      </c:pt>
                      <c:pt idx="133">
                        <c:v>38352.625</c:v>
                      </c:pt>
                      <c:pt idx="134">
                        <c:v>38352.75</c:v>
                      </c:pt>
                      <c:pt idx="135">
                        <c:v>38352.87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Θερμοκρασία!$T$3:$T$138</c15:sqref>
                        </c15:formulaRef>
                      </c:ext>
                    </c:extLst>
                    <c:numCache>
                      <c:formatCode>General</c:formatCode>
                      <c:ptCount val="136"/>
                      <c:pt idx="0">
                        <c:v>-0.6824797428366759</c:v>
                      </c:pt>
                      <c:pt idx="1">
                        <c:v>-0.54286289371216101</c:v>
                      </c:pt>
                      <c:pt idx="2">
                        <c:v>-0.48293457483849378</c:v>
                      </c:pt>
                      <c:pt idx="3">
                        <c:v>-0.34111769364297428</c:v>
                      </c:pt>
                      <c:pt idx="4">
                        <c:v>-0.37104400375957403</c:v>
                      </c:pt>
                      <c:pt idx="5">
                        <c:v>-0.30157275841348785</c:v>
                      </c:pt>
                      <c:pt idx="6">
                        <c:v>-0.24365309393743867</c:v>
                      </c:pt>
                      <c:pt idx="7">
                        <c:v>-0.16851772879702909</c:v>
                      </c:pt>
                      <c:pt idx="8">
                        <c:v>-0.15908153085093696</c:v>
                      </c:pt>
                      <c:pt idx="9">
                        <c:v>-0.36520422574282269</c:v>
                      </c:pt>
                      <c:pt idx="10">
                        <c:v>-0.53017445187081069</c:v>
                      </c:pt>
                      <c:pt idx="11">
                        <c:v>-0.67576685900376909</c:v>
                      </c:pt>
                      <c:pt idx="12">
                        <c:v>-0.79684612510314157</c:v>
                      </c:pt>
                      <c:pt idx="13">
                        <c:v>-1.0767852977652985</c:v>
                      </c:pt>
                      <c:pt idx="14">
                        <c:v>-0.98107915938964918</c:v>
                      </c:pt>
                      <c:pt idx="15">
                        <c:v>-1.2713208946276695</c:v>
                      </c:pt>
                      <c:pt idx="16">
                        <c:v>-1.1275896515530317</c:v>
                      </c:pt>
                      <c:pt idx="17">
                        <c:v>-0.90665727986386657</c:v>
                      </c:pt>
                      <c:pt idx="18">
                        <c:v>-0.7566284087816153</c:v>
                      </c:pt>
                      <c:pt idx="19">
                        <c:v>-0.66522631637498786</c:v>
                      </c:pt>
                      <c:pt idx="20">
                        <c:v>-0.60591387070211589</c:v>
                      </c:pt>
                      <c:pt idx="21">
                        <c:v>-0.62866489045708529</c:v>
                      </c:pt>
                      <c:pt idx="22">
                        <c:v>-0.58065551511603486</c:v>
                      </c:pt>
                      <c:pt idx="23">
                        <c:v>-0.5023975617349723</c:v>
                      </c:pt>
                      <c:pt idx="24">
                        <c:v>-0.22080708725733536</c:v>
                      </c:pt>
                      <c:pt idx="25">
                        <c:v>-0.24941562190206273</c:v>
                      </c:pt>
                      <c:pt idx="26">
                        <c:v>-0.1218944116711036</c:v>
                      </c:pt>
                      <c:pt idx="27">
                        <c:v>-0.11472438180077915</c:v>
                      </c:pt>
                      <c:pt idx="28">
                        <c:v>5.5982678727316687E-2</c:v>
                      </c:pt>
                      <c:pt idx="29">
                        <c:v>0.43554949196961301</c:v>
                      </c:pt>
                      <c:pt idx="30">
                        <c:v>0.62095211095833525</c:v>
                      </c:pt>
                      <c:pt idx="31">
                        <c:v>0.73961273418365625</c:v>
                      </c:pt>
                      <c:pt idx="32">
                        <c:v>0.92391252294768855</c:v>
                      </c:pt>
                      <c:pt idx="33">
                        <c:v>0.54313442223073982</c:v>
                      </c:pt>
                      <c:pt idx="34">
                        <c:v>0.43689563392592118</c:v>
                      </c:pt>
                      <c:pt idx="35">
                        <c:v>0.49356522184006696</c:v>
                      </c:pt>
                      <c:pt idx="36">
                        <c:v>0.41190101943490537</c:v>
                      </c:pt>
                      <c:pt idx="37">
                        <c:v>0.65950314432368717</c:v>
                      </c:pt>
                      <c:pt idx="38">
                        <c:v>0.81736622187262897</c:v>
                      </c:pt>
                      <c:pt idx="39">
                        <c:v>1.0286085994358642</c:v>
                      </c:pt>
                      <c:pt idx="40">
                        <c:v>0.88643788188763106</c:v>
                      </c:pt>
                      <c:pt idx="41">
                        <c:v>0.77255003307193582</c:v>
                      </c:pt>
                      <c:pt idx="42">
                        <c:v>0.63242398490965523</c:v>
                      </c:pt>
                      <c:pt idx="43">
                        <c:v>0.18390258512492383</c:v>
                      </c:pt>
                      <c:pt idx="44">
                        <c:v>0.22216781742527505</c:v>
                      </c:pt>
                      <c:pt idx="45">
                        <c:v>-0.12796946069679294</c:v>
                      </c:pt>
                      <c:pt idx="46">
                        <c:v>-0.29369511845142149</c:v>
                      </c:pt>
                      <c:pt idx="47">
                        <c:v>-0.24487552050890793</c:v>
                      </c:pt>
                      <c:pt idx="48">
                        <c:v>-0.17157527486490198</c:v>
                      </c:pt>
                      <c:pt idx="49">
                        <c:v>6.5685298704103751E-2</c:v>
                      </c:pt>
                      <c:pt idx="50">
                        <c:v>0.21141805145520523</c:v>
                      </c:pt>
                      <c:pt idx="51">
                        <c:v>0.25918336560818001</c:v>
                      </c:pt>
                      <c:pt idx="52">
                        <c:v>4.3591881064885915E-2</c:v>
                      </c:pt>
                      <c:pt idx="53">
                        <c:v>0.15209155819702108</c:v>
                      </c:pt>
                      <c:pt idx="54">
                        <c:v>0.19991229821710493</c:v>
                      </c:pt>
                      <c:pt idx="55">
                        <c:v>0.34978856526280955</c:v>
                      </c:pt>
                      <c:pt idx="56">
                        <c:v>0.42084953290827493</c:v>
                      </c:pt>
                      <c:pt idx="57">
                        <c:v>0.49754458967127474</c:v>
                      </c:pt>
                      <c:pt idx="58">
                        <c:v>0.46545149457944524</c:v>
                      </c:pt>
                      <c:pt idx="59">
                        <c:v>0.5385853410665471</c:v>
                      </c:pt>
                      <c:pt idx="60">
                        <c:v>0.35031919246381094</c:v>
                      </c:pt>
                      <c:pt idx="61">
                        <c:v>0.30413122507907159</c:v>
                      </c:pt>
                      <c:pt idx="62">
                        <c:v>0.15310264711263039</c:v>
                      </c:pt>
                      <c:pt idx="63">
                        <c:v>0.11446369401564471</c:v>
                      </c:pt>
                      <c:pt idx="64">
                        <c:v>0.10221460667490251</c:v>
                      </c:pt>
                      <c:pt idx="65">
                        <c:v>-4.8531083606106168E-2</c:v>
                      </c:pt>
                      <c:pt idx="66">
                        <c:v>-0.23112326660718532</c:v>
                      </c:pt>
                      <c:pt idx="67">
                        <c:v>-0.33961969657798929</c:v>
                      </c:pt>
                      <c:pt idx="68">
                        <c:v>-0.38246778495671696</c:v>
                      </c:pt>
                      <c:pt idx="69">
                        <c:v>-0.32493839408192676</c:v>
                      </c:pt>
                      <c:pt idx="70">
                        <c:v>-0.34908116174909232</c:v>
                      </c:pt>
                      <c:pt idx="71">
                        <c:v>-0.21883149645680289</c:v>
                      </c:pt>
                      <c:pt idx="72">
                        <c:v>-0.15065401039230633</c:v>
                      </c:pt>
                      <c:pt idx="73">
                        <c:v>-0.30969415985055987</c:v>
                      </c:pt>
                      <c:pt idx="74">
                        <c:v>-0.20257665973320882</c:v>
                      </c:pt>
                      <c:pt idx="75">
                        <c:v>-0.43196198752590775</c:v>
                      </c:pt>
                      <c:pt idx="76">
                        <c:v>-0.41602274327800082</c:v>
                      </c:pt>
                      <c:pt idx="77">
                        <c:v>-0.45244535103895267</c:v>
                      </c:pt>
                      <c:pt idx="78">
                        <c:v>-0.42811403283330141</c:v>
                      </c:pt>
                      <c:pt idx="79">
                        <c:v>-0.35503056339071526</c:v>
                      </c:pt>
                      <c:pt idx="80">
                        <c:v>-0.68861965476904818</c:v>
                      </c:pt>
                      <c:pt idx="81">
                        <c:v>-0.55979935250622126</c:v>
                      </c:pt>
                      <c:pt idx="82">
                        <c:v>-0.55929959575256016</c:v>
                      </c:pt>
                      <c:pt idx="83">
                        <c:v>-0.38112546529385655</c:v>
                      </c:pt>
                      <c:pt idx="84">
                        <c:v>-0.63701560487869402</c:v>
                      </c:pt>
                      <c:pt idx="85">
                        <c:v>-0.67973426311241802</c:v>
                      </c:pt>
                      <c:pt idx="86">
                        <c:v>-0.85632255829930681</c:v>
                      </c:pt>
                      <c:pt idx="87">
                        <c:v>-0.99713607450158936</c:v>
                      </c:pt>
                      <c:pt idx="88">
                        <c:v>-1.0154442427963519</c:v>
                      </c:pt>
                      <c:pt idx="89">
                        <c:v>-0.47872117091200045</c:v>
                      </c:pt>
                      <c:pt idx="90">
                        <c:v>-0.43393162242267824</c:v>
                      </c:pt>
                      <c:pt idx="91">
                        <c:v>-8.9404479569731396E-2</c:v>
                      </c:pt>
                      <c:pt idx="92">
                        <c:v>-0.28752029790366956</c:v>
                      </c:pt>
                      <c:pt idx="93">
                        <c:v>-0.19413379291490152</c:v>
                      </c:pt>
                      <c:pt idx="94">
                        <c:v>-7.3654217326121166E-2</c:v>
                      </c:pt>
                      <c:pt idx="95">
                        <c:v>0.34209884906961818</c:v>
                      </c:pt>
                      <c:pt idx="96">
                        <c:v>0.64191265173455636</c:v>
                      </c:pt>
                      <c:pt idx="97">
                        <c:v>0.67293876862182822</c:v>
                      </c:pt>
                      <c:pt idx="98">
                        <c:v>0.55127574707520088</c:v>
                      </c:pt>
                      <c:pt idx="99">
                        <c:v>0.57268621972569389</c:v>
                      </c:pt>
                      <c:pt idx="100">
                        <c:v>0.69363873492838535</c:v>
                      </c:pt>
                      <c:pt idx="101">
                        <c:v>0.89888860138785487</c:v>
                      </c:pt>
                      <c:pt idx="102">
                        <c:v>1.1585435459661224</c:v>
                      </c:pt>
                      <c:pt idx="103">
                        <c:v>1.2830124200520956</c:v>
                      </c:pt>
                      <c:pt idx="104">
                        <c:v>1.3873074880776124</c:v>
                      </c:pt>
                      <c:pt idx="105">
                        <c:v>1.382070797070126</c:v>
                      </c:pt>
                      <c:pt idx="106">
                        <c:v>1.1458475913978223</c:v>
                      </c:pt>
                      <c:pt idx="107">
                        <c:v>1.0852958864622602</c:v>
                      </c:pt>
                      <c:pt idx="108">
                        <c:v>1.0540726538794123</c:v>
                      </c:pt>
                      <c:pt idx="109">
                        <c:v>0.9803480847572148</c:v>
                      </c:pt>
                      <c:pt idx="110">
                        <c:v>0.97039951389497558</c:v>
                      </c:pt>
                      <c:pt idx="111">
                        <c:v>1.074868334030211</c:v>
                      </c:pt>
                      <c:pt idx="112">
                        <c:v>1.083721464852029</c:v>
                      </c:pt>
                      <c:pt idx="113">
                        <c:v>1.0009628632402929</c:v>
                      </c:pt>
                      <c:pt idx="114">
                        <c:v>0.85500225731974822</c:v>
                      </c:pt>
                      <c:pt idx="115">
                        <c:v>0.66425121316394575</c:v>
                      </c:pt>
                      <c:pt idx="116">
                        <c:v>0.80049672579819053</c:v>
                      </c:pt>
                      <c:pt idx="117">
                        <c:v>0.89510528542983181</c:v>
                      </c:pt>
                      <c:pt idx="118">
                        <c:v>1.019261980464609</c:v>
                      </c:pt>
                      <c:pt idx="119">
                        <c:v>0.97718887740124183</c:v>
                      </c:pt>
                      <c:pt idx="120">
                        <c:v>1.0278368248562981</c:v>
                      </c:pt>
                      <c:pt idx="121">
                        <c:v>0.44694230888487863</c:v>
                      </c:pt>
                      <c:pt idx="122">
                        <c:v>0.19049979741092293</c:v>
                      </c:pt>
                      <c:pt idx="123">
                        <c:v>3.2132848069292279E-2</c:v>
                      </c:pt>
                      <c:pt idx="124">
                        <c:v>-0.25429647006705669</c:v>
                      </c:pt>
                      <c:pt idx="125">
                        <c:v>-0.26822678605440314</c:v>
                      </c:pt>
                      <c:pt idx="126">
                        <c:v>-0.41466861966251767</c:v>
                      </c:pt>
                      <c:pt idx="127">
                        <c:v>-0.37541484145451914</c:v>
                      </c:pt>
                      <c:pt idx="128">
                        <c:v>-0.13655806797135162</c:v>
                      </c:pt>
                      <c:pt idx="129">
                        <c:v>-0.14629292832210244</c:v>
                      </c:pt>
                      <c:pt idx="130">
                        <c:v>-0.2078176430356192</c:v>
                      </c:pt>
                      <c:pt idx="131">
                        <c:v>-0.24352259366974555</c:v>
                      </c:pt>
                      <c:pt idx="132">
                        <c:v>-0.23308276531075198</c:v>
                      </c:pt>
                      <c:pt idx="133">
                        <c:v>-0.19744259175347675</c:v>
                      </c:pt>
                      <c:pt idx="134">
                        <c:v>7.8059689965141829E-2</c:v>
                      </c:pt>
                      <c:pt idx="135">
                        <c:v>6.4722398111500004E-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CAB4-4656-B934-0952CA6B4099}"/>
                  </c:ext>
                </c:extLst>
              </c15:ser>
            </c15:filteredScatterSeries>
            <c15:filteredScatte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Θερμοκρασία!$U$2</c15:sqref>
                        </c15:formulaRef>
                      </c:ext>
                    </c:extLst>
                    <c:strCache>
                      <c:ptCount val="1"/>
                      <c:pt idx="0">
                        <c:v>21ωρη πρόγνωση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Θερμοκρασία!$M$3:$M$138</c15:sqref>
                        </c15:formulaRef>
                      </c:ext>
                    </c:extLst>
                    <c:numCache>
                      <c:formatCode>d/m/yy\ h:mm;@</c:formatCode>
                      <c:ptCount val="136"/>
                      <c:pt idx="0">
                        <c:v>38336</c:v>
                      </c:pt>
                      <c:pt idx="1">
                        <c:v>38336.125</c:v>
                      </c:pt>
                      <c:pt idx="2">
                        <c:v>38336.25</c:v>
                      </c:pt>
                      <c:pt idx="3">
                        <c:v>38336.375</c:v>
                      </c:pt>
                      <c:pt idx="4">
                        <c:v>38336.5</c:v>
                      </c:pt>
                      <c:pt idx="5">
                        <c:v>38336.625</c:v>
                      </c:pt>
                      <c:pt idx="6">
                        <c:v>38336.75</c:v>
                      </c:pt>
                      <c:pt idx="7">
                        <c:v>38336.875</c:v>
                      </c:pt>
                      <c:pt idx="8">
                        <c:v>38337</c:v>
                      </c:pt>
                      <c:pt idx="9">
                        <c:v>38337.125</c:v>
                      </c:pt>
                      <c:pt idx="10">
                        <c:v>38337.25</c:v>
                      </c:pt>
                      <c:pt idx="11">
                        <c:v>38337.375</c:v>
                      </c:pt>
                      <c:pt idx="12">
                        <c:v>38337.5</c:v>
                      </c:pt>
                      <c:pt idx="13">
                        <c:v>38337.625</c:v>
                      </c:pt>
                      <c:pt idx="14">
                        <c:v>38337.75</c:v>
                      </c:pt>
                      <c:pt idx="15">
                        <c:v>38337.875</c:v>
                      </c:pt>
                      <c:pt idx="16">
                        <c:v>38338</c:v>
                      </c:pt>
                      <c:pt idx="17">
                        <c:v>38338.125</c:v>
                      </c:pt>
                      <c:pt idx="18">
                        <c:v>38338.25</c:v>
                      </c:pt>
                      <c:pt idx="19">
                        <c:v>38338.375</c:v>
                      </c:pt>
                      <c:pt idx="20">
                        <c:v>38338.5</c:v>
                      </c:pt>
                      <c:pt idx="21">
                        <c:v>38338.625</c:v>
                      </c:pt>
                      <c:pt idx="22">
                        <c:v>38338.75</c:v>
                      </c:pt>
                      <c:pt idx="23">
                        <c:v>38338.875</c:v>
                      </c:pt>
                      <c:pt idx="24">
                        <c:v>38339</c:v>
                      </c:pt>
                      <c:pt idx="25">
                        <c:v>38339.125</c:v>
                      </c:pt>
                      <c:pt idx="26">
                        <c:v>38339.25</c:v>
                      </c:pt>
                      <c:pt idx="27">
                        <c:v>38339.375</c:v>
                      </c:pt>
                      <c:pt idx="28">
                        <c:v>38339.5</c:v>
                      </c:pt>
                      <c:pt idx="29">
                        <c:v>38339.625</c:v>
                      </c:pt>
                      <c:pt idx="30">
                        <c:v>38339.75</c:v>
                      </c:pt>
                      <c:pt idx="31">
                        <c:v>38339.875</c:v>
                      </c:pt>
                      <c:pt idx="32">
                        <c:v>38340</c:v>
                      </c:pt>
                      <c:pt idx="33">
                        <c:v>38340.125</c:v>
                      </c:pt>
                      <c:pt idx="34">
                        <c:v>38340.25</c:v>
                      </c:pt>
                      <c:pt idx="35">
                        <c:v>38340.375</c:v>
                      </c:pt>
                      <c:pt idx="36">
                        <c:v>38340.5</c:v>
                      </c:pt>
                      <c:pt idx="37">
                        <c:v>38340.625</c:v>
                      </c:pt>
                      <c:pt idx="38">
                        <c:v>38340.75</c:v>
                      </c:pt>
                      <c:pt idx="39">
                        <c:v>38340.875</c:v>
                      </c:pt>
                      <c:pt idx="40">
                        <c:v>38341</c:v>
                      </c:pt>
                      <c:pt idx="41">
                        <c:v>38341.125</c:v>
                      </c:pt>
                      <c:pt idx="42">
                        <c:v>38341.25</c:v>
                      </c:pt>
                      <c:pt idx="43">
                        <c:v>38341.375</c:v>
                      </c:pt>
                      <c:pt idx="44">
                        <c:v>38341.5</c:v>
                      </c:pt>
                      <c:pt idx="45">
                        <c:v>38341.625</c:v>
                      </c:pt>
                      <c:pt idx="46">
                        <c:v>38341.75</c:v>
                      </c:pt>
                      <c:pt idx="47">
                        <c:v>38341.875</c:v>
                      </c:pt>
                      <c:pt idx="48">
                        <c:v>38342</c:v>
                      </c:pt>
                      <c:pt idx="49">
                        <c:v>38342.125</c:v>
                      </c:pt>
                      <c:pt idx="50">
                        <c:v>38342.25</c:v>
                      </c:pt>
                      <c:pt idx="51">
                        <c:v>38342.375</c:v>
                      </c:pt>
                      <c:pt idx="52">
                        <c:v>38342.5</c:v>
                      </c:pt>
                      <c:pt idx="53">
                        <c:v>38342.625</c:v>
                      </c:pt>
                      <c:pt idx="54">
                        <c:v>38342.75</c:v>
                      </c:pt>
                      <c:pt idx="55">
                        <c:v>38342.875</c:v>
                      </c:pt>
                      <c:pt idx="56">
                        <c:v>38343</c:v>
                      </c:pt>
                      <c:pt idx="57">
                        <c:v>38343.125</c:v>
                      </c:pt>
                      <c:pt idx="58">
                        <c:v>38343.25</c:v>
                      </c:pt>
                      <c:pt idx="59">
                        <c:v>38343.375</c:v>
                      </c:pt>
                      <c:pt idx="60">
                        <c:v>38343.5</c:v>
                      </c:pt>
                      <c:pt idx="61">
                        <c:v>38343.625</c:v>
                      </c:pt>
                      <c:pt idx="62">
                        <c:v>38343.75</c:v>
                      </c:pt>
                      <c:pt idx="63">
                        <c:v>38343.875</c:v>
                      </c:pt>
                      <c:pt idx="64">
                        <c:v>38344</c:v>
                      </c:pt>
                      <c:pt idx="65">
                        <c:v>38344.125</c:v>
                      </c:pt>
                      <c:pt idx="66">
                        <c:v>38344.25</c:v>
                      </c:pt>
                      <c:pt idx="67">
                        <c:v>38344.375</c:v>
                      </c:pt>
                      <c:pt idx="68">
                        <c:v>38344.5</c:v>
                      </c:pt>
                      <c:pt idx="69">
                        <c:v>38344.625</c:v>
                      </c:pt>
                      <c:pt idx="70">
                        <c:v>38344.75</c:v>
                      </c:pt>
                      <c:pt idx="71">
                        <c:v>38344.875</c:v>
                      </c:pt>
                      <c:pt idx="72">
                        <c:v>38345</c:v>
                      </c:pt>
                      <c:pt idx="73">
                        <c:v>38345.125</c:v>
                      </c:pt>
                      <c:pt idx="74">
                        <c:v>38345.25</c:v>
                      </c:pt>
                      <c:pt idx="75">
                        <c:v>38345.375</c:v>
                      </c:pt>
                      <c:pt idx="76">
                        <c:v>38345.5</c:v>
                      </c:pt>
                      <c:pt idx="77">
                        <c:v>38345.625</c:v>
                      </c:pt>
                      <c:pt idx="78">
                        <c:v>38345.75</c:v>
                      </c:pt>
                      <c:pt idx="79">
                        <c:v>38345.875</c:v>
                      </c:pt>
                      <c:pt idx="80">
                        <c:v>38346</c:v>
                      </c:pt>
                      <c:pt idx="81">
                        <c:v>38346.125</c:v>
                      </c:pt>
                      <c:pt idx="82">
                        <c:v>38346.25</c:v>
                      </c:pt>
                      <c:pt idx="83">
                        <c:v>38346.375</c:v>
                      </c:pt>
                      <c:pt idx="84">
                        <c:v>38346.5</c:v>
                      </c:pt>
                      <c:pt idx="85">
                        <c:v>38346.625</c:v>
                      </c:pt>
                      <c:pt idx="86">
                        <c:v>38346.75</c:v>
                      </c:pt>
                      <c:pt idx="87">
                        <c:v>38346.875</c:v>
                      </c:pt>
                      <c:pt idx="88">
                        <c:v>38347</c:v>
                      </c:pt>
                      <c:pt idx="89">
                        <c:v>38347.125</c:v>
                      </c:pt>
                      <c:pt idx="90">
                        <c:v>38347.25</c:v>
                      </c:pt>
                      <c:pt idx="91">
                        <c:v>38347.375</c:v>
                      </c:pt>
                      <c:pt idx="92">
                        <c:v>38347.5</c:v>
                      </c:pt>
                      <c:pt idx="93">
                        <c:v>38347.625</c:v>
                      </c:pt>
                      <c:pt idx="94">
                        <c:v>38347.75</c:v>
                      </c:pt>
                      <c:pt idx="95">
                        <c:v>38347.875</c:v>
                      </c:pt>
                      <c:pt idx="96">
                        <c:v>38348</c:v>
                      </c:pt>
                      <c:pt idx="97">
                        <c:v>38348.125</c:v>
                      </c:pt>
                      <c:pt idx="98">
                        <c:v>38348.25</c:v>
                      </c:pt>
                      <c:pt idx="99">
                        <c:v>38348.375</c:v>
                      </c:pt>
                      <c:pt idx="100">
                        <c:v>38348.5</c:v>
                      </c:pt>
                      <c:pt idx="101">
                        <c:v>38348.625</c:v>
                      </c:pt>
                      <c:pt idx="102">
                        <c:v>38348.75</c:v>
                      </c:pt>
                      <c:pt idx="103">
                        <c:v>38348.875</c:v>
                      </c:pt>
                      <c:pt idx="104">
                        <c:v>38349</c:v>
                      </c:pt>
                      <c:pt idx="105">
                        <c:v>38349.125</c:v>
                      </c:pt>
                      <c:pt idx="106">
                        <c:v>38349.25</c:v>
                      </c:pt>
                      <c:pt idx="107">
                        <c:v>38349.375</c:v>
                      </c:pt>
                      <c:pt idx="108">
                        <c:v>38349.5</c:v>
                      </c:pt>
                      <c:pt idx="109">
                        <c:v>38349.625</c:v>
                      </c:pt>
                      <c:pt idx="110">
                        <c:v>38349.75</c:v>
                      </c:pt>
                      <c:pt idx="111">
                        <c:v>38349.875</c:v>
                      </c:pt>
                      <c:pt idx="112">
                        <c:v>38350</c:v>
                      </c:pt>
                      <c:pt idx="113">
                        <c:v>38350.125</c:v>
                      </c:pt>
                      <c:pt idx="114">
                        <c:v>38350.25</c:v>
                      </c:pt>
                      <c:pt idx="115">
                        <c:v>38350.375</c:v>
                      </c:pt>
                      <c:pt idx="116">
                        <c:v>38350.5</c:v>
                      </c:pt>
                      <c:pt idx="117">
                        <c:v>38350.625</c:v>
                      </c:pt>
                      <c:pt idx="118">
                        <c:v>38350.75</c:v>
                      </c:pt>
                      <c:pt idx="119">
                        <c:v>38350.875</c:v>
                      </c:pt>
                      <c:pt idx="120">
                        <c:v>38351</c:v>
                      </c:pt>
                      <c:pt idx="121">
                        <c:v>38351.125</c:v>
                      </c:pt>
                      <c:pt idx="122">
                        <c:v>38351.25</c:v>
                      </c:pt>
                      <c:pt idx="123">
                        <c:v>38351.375</c:v>
                      </c:pt>
                      <c:pt idx="124">
                        <c:v>38351.5</c:v>
                      </c:pt>
                      <c:pt idx="125">
                        <c:v>38351.625</c:v>
                      </c:pt>
                      <c:pt idx="126">
                        <c:v>38351.75</c:v>
                      </c:pt>
                      <c:pt idx="127">
                        <c:v>38351.875</c:v>
                      </c:pt>
                      <c:pt idx="128">
                        <c:v>38352</c:v>
                      </c:pt>
                      <c:pt idx="129">
                        <c:v>38352.125</c:v>
                      </c:pt>
                      <c:pt idx="130">
                        <c:v>38352.25</c:v>
                      </c:pt>
                      <c:pt idx="131">
                        <c:v>38352.375</c:v>
                      </c:pt>
                      <c:pt idx="132">
                        <c:v>38352.5</c:v>
                      </c:pt>
                      <c:pt idx="133">
                        <c:v>38352.625</c:v>
                      </c:pt>
                      <c:pt idx="134">
                        <c:v>38352.75</c:v>
                      </c:pt>
                      <c:pt idx="135">
                        <c:v>38352.87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Θερμοκρασία!$U$3:$U$138</c15:sqref>
                        </c15:formulaRef>
                      </c:ext>
                    </c:extLst>
                    <c:numCache>
                      <c:formatCode>General</c:formatCode>
                      <c:ptCount val="136"/>
                      <c:pt idx="0">
                        <c:v>-1.0368912285024068</c:v>
                      </c:pt>
                      <c:pt idx="1">
                        <c:v>-0.55811222838444396</c:v>
                      </c:pt>
                      <c:pt idx="2">
                        <c:v>-0.32807059888976531</c:v>
                      </c:pt>
                      <c:pt idx="3">
                        <c:v>-0.45914924729636586</c:v>
                      </c:pt>
                      <c:pt idx="4">
                        <c:v>-0.38852542775186039</c:v>
                      </c:pt>
                      <c:pt idx="5">
                        <c:v>-0.31758122885267992</c:v>
                      </c:pt>
                      <c:pt idx="6">
                        <c:v>-0.25354589986212128</c:v>
                      </c:pt>
                      <c:pt idx="7">
                        <c:v>-0.2154091805102159</c:v>
                      </c:pt>
                      <c:pt idx="8">
                        <c:v>-0.14745602803191238</c:v>
                      </c:pt>
                      <c:pt idx="9">
                        <c:v>-0.13398908353636663</c:v>
                      </c:pt>
                      <c:pt idx="10">
                        <c:v>-0.40189929850564993</c:v>
                      </c:pt>
                      <c:pt idx="11">
                        <c:v>-0.63660284166970549</c:v>
                      </c:pt>
                      <c:pt idx="12">
                        <c:v>-0.71467218660019238</c:v>
                      </c:pt>
                      <c:pt idx="13">
                        <c:v>-0.77487609598204754</c:v>
                      </c:pt>
                      <c:pt idx="14">
                        <c:v>-1.102459464240849</c:v>
                      </c:pt>
                      <c:pt idx="15">
                        <c:v>-1.0258186203980295</c:v>
                      </c:pt>
                      <c:pt idx="16">
                        <c:v>-1.208338485650378</c:v>
                      </c:pt>
                      <c:pt idx="17">
                        <c:v>-1.1216184583778552</c:v>
                      </c:pt>
                      <c:pt idx="18">
                        <c:v>-0.7720479900723336</c:v>
                      </c:pt>
                      <c:pt idx="19">
                        <c:v>-0.59501466896475097</c:v>
                      </c:pt>
                      <c:pt idx="20">
                        <c:v>-0.6207977350954974</c:v>
                      </c:pt>
                      <c:pt idx="21">
                        <c:v>-0.61580075331925832</c:v>
                      </c:pt>
                      <c:pt idx="22">
                        <c:v>-0.60209580596271928</c:v>
                      </c:pt>
                      <c:pt idx="23">
                        <c:v>-0.53948039998319297</c:v>
                      </c:pt>
                      <c:pt idx="24">
                        <c:v>-0.44877873269935886</c:v>
                      </c:pt>
                      <c:pt idx="25">
                        <c:v>-0.13420769758011247</c:v>
                      </c:pt>
                      <c:pt idx="26">
                        <c:v>-0.15848063920211281</c:v>
                      </c:pt>
                      <c:pt idx="27">
                        <c:v>-0.15020949244650034</c:v>
                      </c:pt>
                      <c:pt idx="28">
                        <c:v>-0.10630410339751181</c:v>
                      </c:pt>
                      <c:pt idx="29">
                        <c:v>0.10781531911620648</c:v>
                      </c:pt>
                      <c:pt idx="30">
                        <c:v>0.56652817748909412</c:v>
                      </c:pt>
                      <c:pt idx="31">
                        <c:v>0.7506570278112763</c:v>
                      </c:pt>
                      <c:pt idx="32">
                        <c:v>0.71972327519795687</c:v>
                      </c:pt>
                      <c:pt idx="33">
                        <c:v>0.88323315525569923</c:v>
                      </c:pt>
                      <c:pt idx="34">
                        <c:v>0.50359603120112273</c:v>
                      </c:pt>
                      <c:pt idx="35">
                        <c:v>0.25260072620756591</c:v>
                      </c:pt>
                      <c:pt idx="36">
                        <c:v>0.46340305762133305</c:v>
                      </c:pt>
                      <c:pt idx="37">
                        <c:v>0.49646480812269111</c:v>
                      </c:pt>
                      <c:pt idx="38">
                        <c:v>0.66714383252346465</c:v>
                      </c:pt>
                      <c:pt idx="39">
                        <c:v>0.86031960559429721</c:v>
                      </c:pt>
                      <c:pt idx="40">
                        <c:v>1.071868961286357</c:v>
                      </c:pt>
                      <c:pt idx="41">
                        <c:v>0.86184578049780547</c:v>
                      </c:pt>
                      <c:pt idx="42">
                        <c:v>0.61333131367809446</c:v>
                      </c:pt>
                      <c:pt idx="43">
                        <c:v>0.53118196250333716</c:v>
                      </c:pt>
                      <c:pt idx="44">
                        <c:v>0.10165615023853722</c:v>
                      </c:pt>
                      <c:pt idx="45">
                        <c:v>9.8150523322262928E-2</c:v>
                      </c:pt>
                      <c:pt idx="46">
                        <c:v>-0.13364096276987905</c:v>
                      </c:pt>
                      <c:pt idx="47">
                        <c:v>-0.38867884769087047</c:v>
                      </c:pt>
                      <c:pt idx="48">
                        <c:v>-0.27487119181728881</c:v>
                      </c:pt>
                      <c:pt idx="49">
                        <c:v>-7.0428454944279462E-2</c:v>
                      </c:pt>
                      <c:pt idx="50">
                        <c:v>0.16697907004503734</c:v>
                      </c:pt>
                      <c:pt idx="51">
                        <c:v>0.27225261678688401</c:v>
                      </c:pt>
                      <c:pt idx="52">
                        <c:v>0.25134872007161047</c:v>
                      </c:pt>
                      <c:pt idx="53">
                        <c:v>-2.8059278414778011E-2</c:v>
                      </c:pt>
                      <c:pt idx="54">
                        <c:v>8.3591626376181505E-2</c:v>
                      </c:pt>
                      <c:pt idx="55">
                        <c:v>0.28799341247560961</c:v>
                      </c:pt>
                      <c:pt idx="56">
                        <c:v>0.42240474435789954</c:v>
                      </c:pt>
                      <c:pt idx="57">
                        <c:v>0.4255894480036696</c:v>
                      </c:pt>
                      <c:pt idx="58">
                        <c:v>0.46908707521983184</c:v>
                      </c:pt>
                      <c:pt idx="59">
                        <c:v>0.45744601411019059</c:v>
                      </c:pt>
                      <c:pt idx="60">
                        <c:v>0.52631824928394755</c:v>
                      </c:pt>
                      <c:pt idx="61">
                        <c:v>0.32100933218548772</c:v>
                      </c:pt>
                      <c:pt idx="62">
                        <c:v>0.20400448952335323</c:v>
                      </c:pt>
                      <c:pt idx="63">
                        <c:v>0.10938568678285886</c:v>
                      </c:pt>
                      <c:pt idx="64">
                        <c:v>9.4063099004278214E-2</c:v>
                      </c:pt>
                      <c:pt idx="65">
                        <c:v>0.10709134739860308</c:v>
                      </c:pt>
                      <c:pt idx="66">
                        <c:v>-7.44020700847281E-2</c:v>
                      </c:pt>
                      <c:pt idx="67">
                        <c:v>-0.32435407607113259</c:v>
                      </c:pt>
                      <c:pt idx="68">
                        <c:v>-0.40343043073765195</c:v>
                      </c:pt>
                      <c:pt idx="69">
                        <c:v>-0.35875282750655269</c:v>
                      </c:pt>
                      <c:pt idx="70">
                        <c:v>-0.27010069623924893</c:v>
                      </c:pt>
                      <c:pt idx="71">
                        <c:v>-0.32264842043328923</c:v>
                      </c:pt>
                      <c:pt idx="72">
                        <c:v>-0.21795440123934101</c:v>
                      </c:pt>
                      <c:pt idx="73">
                        <c:v>-8.8051310457360185E-2</c:v>
                      </c:pt>
                      <c:pt idx="74">
                        <c:v>-0.30396367741710567</c:v>
                      </c:pt>
                      <c:pt idx="75">
                        <c:v>-0.26601942683134805</c:v>
                      </c:pt>
                      <c:pt idx="76">
                        <c:v>-0.41966814062815999</c:v>
                      </c:pt>
                      <c:pt idx="77">
                        <c:v>-0.44723517639539784</c:v>
                      </c:pt>
                      <c:pt idx="78">
                        <c:v>-0.42922917199495114</c:v>
                      </c:pt>
                      <c:pt idx="79">
                        <c:v>-0.39648438009129328</c:v>
                      </c:pt>
                      <c:pt idx="80">
                        <c:v>-0.31789158631752934</c:v>
                      </c:pt>
                      <c:pt idx="81">
                        <c:v>-0.71645891864350908</c:v>
                      </c:pt>
                      <c:pt idx="82">
                        <c:v>-0.65508090562081556</c:v>
                      </c:pt>
                      <c:pt idx="83">
                        <c:v>-0.45373529880979824</c:v>
                      </c:pt>
                      <c:pt idx="84">
                        <c:v>-0.26440606988031989</c:v>
                      </c:pt>
                      <c:pt idx="85">
                        <c:v>-0.64344598490489924</c:v>
                      </c:pt>
                      <c:pt idx="86">
                        <c:v>-0.82692968251946131</c:v>
                      </c:pt>
                      <c:pt idx="87">
                        <c:v>-0.8591566861236084</c:v>
                      </c:pt>
                      <c:pt idx="88">
                        <c:v>-0.96008269675513336</c:v>
                      </c:pt>
                      <c:pt idx="89">
                        <c:v>-1.009029593740506</c:v>
                      </c:pt>
                      <c:pt idx="90">
                        <c:v>-0.35198750137644513</c:v>
                      </c:pt>
                      <c:pt idx="91">
                        <c:v>-0.18275440622482675</c:v>
                      </c:pt>
                      <c:pt idx="92">
                        <c:v>-6.3499044951128569E-2</c:v>
                      </c:pt>
                      <c:pt idx="93">
                        <c:v>-0.32098014991198509</c:v>
                      </c:pt>
                      <c:pt idx="94">
                        <c:v>-0.26763277888394349</c:v>
                      </c:pt>
                      <c:pt idx="95">
                        <c:v>2.1724096129103809E-2</c:v>
                      </c:pt>
                      <c:pt idx="96">
                        <c:v>0.50913267761231829</c:v>
                      </c:pt>
                      <c:pt idx="97">
                        <c:v>0.79178674789625791</c:v>
                      </c:pt>
                      <c:pt idx="98">
                        <c:v>0.65956553136424434</c:v>
                      </c:pt>
                      <c:pt idx="99">
                        <c:v>0.41133468955336289</c:v>
                      </c:pt>
                      <c:pt idx="100">
                        <c:v>0.4988622487699842</c:v>
                      </c:pt>
                      <c:pt idx="101">
                        <c:v>0.77221288611308991</c:v>
                      </c:pt>
                      <c:pt idx="102">
                        <c:v>0.98843138960789356</c:v>
                      </c:pt>
                      <c:pt idx="103">
                        <c:v>1.1904044199848993</c:v>
                      </c:pt>
                      <c:pt idx="104">
                        <c:v>1.2869804278793118</c:v>
                      </c:pt>
                      <c:pt idx="105">
                        <c:v>1.358089015563011</c:v>
                      </c:pt>
                      <c:pt idx="106">
                        <c:v>1.3382643487192871</c:v>
                      </c:pt>
                      <c:pt idx="107">
                        <c:v>1.035485866702929</c:v>
                      </c:pt>
                      <c:pt idx="108">
                        <c:v>0.93635010714631706</c:v>
                      </c:pt>
                      <c:pt idx="109">
                        <c:v>1.0262976556954777</c:v>
                      </c:pt>
                      <c:pt idx="110">
                        <c:v>0.9793949693457239</c:v>
                      </c:pt>
                      <c:pt idx="111">
                        <c:v>0.90018421908856905</c:v>
                      </c:pt>
                      <c:pt idx="112">
                        <c:v>1.0331275159107174</c:v>
                      </c:pt>
                      <c:pt idx="113">
                        <c:v>1.104205453007685</c:v>
                      </c:pt>
                      <c:pt idx="114">
                        <c:v>0.95009558084943957</c:v>
                      </c:pt>
                      <c:pt idx="115">
                        <c:v>0.72540441544304213</c:v>
                      </c:pt>
                      <c:pt idx="116">
                        <c:v>0.54931368386719459</c:v>
                      </c:pt>
                      <c:pt idx="117">
                        <c:v>0.78425742717452318</c:v>
                      </c:pt>
                      <c:pt idx="118">
                        <c:v>0.99074010171802607</c:v>
                      </c:pt>
                      <c:pt idx="119">
                        <c:v>1.0360723109997643</c:v>
                      </c:pt>
                      <c:pt idx="120">
                        <c:v>0.90522445244628347</c:v>
                      </c:pt>
                      <c:pt idx="121">
                        <c:v>0.9480660905800844</c:v>
                      </c:pt>
                      <c:pt idx="122">
                        <c:v>0.34603415184964287</c:v>
                      </c:pt>
                      <c:pt idx="123">
                        <c:v>-7.2652038114100231E-2</c:v>
                      </c:pt>
                      <c:pt idx="124">
                        <c:v>-4.4836799892065987E-2</c:v>
                      </c:pt>
                      <c:pt idx="125">
                        <c:v>-0.21912580083377525</c:v>
                      </c:pt>
                      <c:pt idx="126">
                        <c:v>-0.3203442055338751</c:v>
                      </c:pt>
                      <c:pt idx="127">
                        <c:v>-0.44687134574513354</c:v>
                      </c:pt>
                      <c:pt idx="128">
                        <c:v>-0.37614804885448982</c:v>
                      </c:pt>
                      <c:pt idx="129">
                        <c:v>-3.3619912852415043E-2</c:v>
                      </c:pt>
                      <c:pt idx="130">
                        <c:v>-4.2730703825882822E-2</c:v>
                      </c:pt>
                      <c:pt idx="131">
                        <c:v>-0.27540818687602808</c:v>
                      </c:pt>
                      <c:pt idx="132">
                        <c:v>-0.32335611504046213</c:v>
                      </c:pt>
                      <c:pt idx="133">
                        <c:v>-0.19469070506140573</c:v>
                      </c:pt>
                      <c:pt idx="134">
                        <c:v>-0.12490218935118927</c:v>
                      </c:pt>
                      <c:pt idx="135">
                        <c:v>0.1326809446119647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CAB4-4656-B934-0952CA6B4099}"/>
                  </c:ext>
                </c:extLst>
              </c15:ser>
            </c15:filteredScatterSeries>
          </c:ext>
        </c:extLst>
      </c:scatterChart>
      <c:valAx>
        <c:axId val="167047168"/>
        <c:scaling>
          <c:orientation val="minMax"/>
          <c:max val="38353"/>
          <c:min val="38338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/d/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7048704"/>
        <c:crosses val="autoZero"/>
        <c:crossBetween val="midCat"/>
      </c:valAx>
      <c:valAx>
        <c:axId val="1670487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ΤΥΠΟΠΟΙΗΜΕΝΕΣ ΤΙΜΕΣ ΘΕΡΜΟΚΡΑΣΙΑΣ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7047168"/>
        <c:crossesAt val="38338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4109449605512785"/>
          <c:w val="0.98962945139557534"/>
          <c:h val="4.56208358570563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FF0000"/>
      </a:solidFill>
      <a:round/>
    </a:ln>
    <a:effectLst/>
  </c:spPr>
  <c:txPr>
    <a:bodyPr/>
    <a:lstStyle/>
    <a:p>
      <a:pPr>
        <a:defRPr sz="900"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858463425295076E-2"/>
          <c:y val="1.9075496497087941E-2"/>
          <c:w val="0.85599455929649393"/>
          <c:h val="0.85767175624786218"/>
        </c:manualLayout>
      </c:layout>
      <c:scatterChart>
        <c:scatterStyle val="lineMarker"/>
        <c:varyColors val="0"/>
        <c:ser>
          <c:idx val="0"/>
          <c:order val="0"/>
          <c:tx>
            <c:strRef>
              <c:f>'Ταχύτητα ανέμου'!$N$2</c:f>
              <c:strCache>
                <c:ptCount val="1"/>
                <c:pt idx="0">
                  <c:v>μέτρηση </c:v>
                </c:pt>
              </c:strCache>
            </c:strRef>
          </c:tx>
          <c:spPr>
            <a:ln w="19050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xVal>
            <c:numRef>
              <c:f>'Ταχύτητα ανέμου'!$M$3:$M$138</c:f>
              <c:numCache>
                <c:formatCode>d/m/yy\ h:mm;@</c:formatCode>
                <c:ptCount val="136"/>
                <c:pt idx="0">
                  <c:v>38336</c:v>
                </c:pt>
                <c:pt idx="1">
                  <c:v>38336.124999999993</c:v>
                </c:pt>
                <c:pt idx="2">
                  <c:v>38336.25</c:v>
                </c:pt>
                <c:pt idx="3">
                  <c:v>38336.375</c:v>
                </c:pt>
                <c:pt idx="4">
                  <c:v>38336.5</c:v>
                </c:pt>
                <c:pt idx="5">
                  <c:v>38336.624999999993</c:v>
                </c:pt>
                <c:pt idx="6">
                  <c:v>38336.75</c:v>
                </c:pt>
                <c:pt idx="7">
                  <c:v>38336.875</c:v>
                </c:pt>
                <c:pt idx="8">
                  <c:v>38337</c:v>
                </c:pt>
                <c:pt idx="9">
                  <c:v>38337.124999999993</c:v>
                </c:pt>
                <c:pt idx="10">
                  <c:v>38337.25</c:v>
                </c:pt>
                <c:pt idx="11">
                  <c:v>38337.375</c:v>
                </c:pt>
                <c:pt idx="12">
                  <c:v>38337.5</c:v>
                </c:pt>
                <c:pt idx="13">
                  <c:v>38337.624999999993</c:v>
                </c:pt>
                <c:pt idx="14">
                  <c:v>38337.75</c:v>
                </c:pt>
                <c:pt idx="15">
                  <c:v>38337.875</c:v>
                </c:pt>
                <c:pt idx="16">
                  <c:v>38338</c:v>
                </c:pt>
                <c:pt idx="17">
                  <c:v>38338.124999999993</c:v>
                </c:pt>
                <c:pt idx="18">
                  <c:v>38338.25</c:v>
                </c:pt>
                <c:pt idx="19">
                  <c:v>38338.375</c:v>
                </c:pt>
                <c:pt idx="20">
                  <c:v>38338.5</c:v>
                </c:pt>
                <c:pt idx="21">
                  <c:v>38338.624999999993</c:v>
                </c:pt>
                <c:pt idx="22">
                  <c:v>38338.75</c:v>
                </c:pt>
                <c:pt idx="23">
                  <c:v>38338.875</c:v>
                </c:pt>
                <c:pt idx="24">
                  <c:v>38339</c:v>
                </c:pt>
                <c:pt idx="25">
                  <c:v>38339.124999999993</c:v>
                </c:pt>
                <c:pt idx="26">
                  <c:v>38339.25</c:v>
                </c:pt>
                <c:pt idx="27">
                  <c:v>38339.375</c:v>
                </c:pt>
                <c:pt idx="28">
                  <c:v>38339.5</c:v>
                </c:pt>
                <c:pt idx="29">
                  <c:v>38339.624999999993</c:v>
                </c:pt>
                <c:pt idx="30">
                  <c:v>38339.75</c:v>
                </c:pt>
                <c:pt idx="31">
                  <c:v>38339.875</c:v>
                </c:pt>
                <c:pt idx="32">
                  <c:v>38340</c:v>
                </c:pt>
                <c:pt idx="33">
                  <c:v>38340.124999999993</c:v>
                </c:pt>
                <c:pt idx="34">
                  <c:v>38340.25</c:v>
                </c:pt>
                <c:pt idx="35">
                  <c:v>38340.375</c:v>
                </c:pt>
                <c:pt idx="36">
                  <c:v>38340.5</c:v>
                </c:pt>
                <c:pt idx="37">
                  <c:v>38340.624999999993</c:v>
                </c:pt>
                <c:pt idx="38">
                  <c:v>38340.75</c:v>
                </c:pt>
                <c:pt idx="39">
                  <c:v>38340.875</c:v>
                </c:pt>
                <c:pt idx="40">
                  <c:v>38341</c:v>
                </c:pt>
                <c:pt idx="41">
                  <c:v>38341.124999999993</c:v>
                </c:pt>
                <c:pt idx="42">
                  <c:v>38341.25</c:v>
                </c:pt>
                <c:pt idx="43">
                  <c:v>38341.375</c:v>
                </c:pt>
                <c:pt idx="44">
                  <c:v>38341.5</c:v>
                </c:pt>
                <c:pt idx="45">
                  <c:v>38341.624999999993</c:v>
                </c:pt>
                <c:pt idx="46">
                  <c:v>38341.75</c:v>
                </c:pt>
                <c:pt idx="47">
                  <c:v>38341.875</c:v>
                </c:pt>
                <c:pt idx="48">
                  <c:v>38342</c:v>
                </c:pt>
                <c:pt idx="49">
                  <c:v>38342.124999999993</c:v>
                </c:pt>
                <c:pt idx="50">
                  <c:v>38342.25</c:v>
                </c:pt>
                <c:pt idx="51">
                  <c:v>38342.375</c:v>
                </c:pt>
                <c:pt idx="52">
                  <c:v>38342.5</c:v>
                </c:pt>
                <c:pt idx="53">
                  <c:v>38342.624999999993</c:v>
                </c:pt>
                <c:pt idx="54">
                  <c:v>38342.75</c:v>
                </c:pt>
                <c:pt idx="55">
                  <c:v>38342.875</c:v>
                </c:pt>
                <c:pt idx="56">
                  <c:v>38343</c:v>
                </c:pt>
                <c:pt idx="57">
                  <c:v>38343.124999999993</c:v>
                </c:pt>
                <c:pt idx="58">
                  <c:v>38343.25</c:v>
                </c:pt>
                <c:pt idx="59">
                  <c:v>38343.375</c:v>
                </c:pt>
                <c:pt idx="60">
                  <c:v>38343.5</c:v>
                </c:pt>
                <c:pt idx="61">
                  <c:v>38343.624999999993</c:v>
                </c:pt>
                <c:pt idx="62">
                  <c:v>38343.75</c:v>
                </c:pt>
                <c:pt idx="63">
                  <c:v>38343.875</c:v>
                </c:pt>
                <c:pt idx="64">
                  <c:v>38344</c:v>
                </c:pt>
                <c:pt idx="65">
                  <c:v>38344.124999999993</c:v>
                </c:pt>
                <c:pt idx="66">
                  <c:v>38344.25</c:v>
                </c:pt>
                <c:pt idx="67">
                  <c:v>38344.375</c:v>
                </c:pt>
                <c:pt idx="68">
                  <c:v>38344.5</c:v>
                </c:pt>
                <c:pt idx="69">
                  <c:v>38344.624999999993</c:v>
                </c:pt>
                <c:pt idx="70">
                  <c:v>38344.75</c:v>
                </c:pt>
                <c:pt idx="71">
                  <c:v>38344.875</c:v>
                </c:pt>
                <c:pt idx="72">
                  <c:v>38345</c:v>
                </c:pt>
                <c:pt idx="73">
                  <c:v>38345.124999999993</c:v>
                </c:pt>
                <c:pt idx="74">
                  <c:v>38345.25</c:v>
                </c:pt>
                <c:pt idx="75">
                  <c:v>38345.375</c:v>
                </c:pt>
                <c:pt idx="76">
                  <c:v>38345.5</c:v>
                </c:pt>
                <c:pt idx="77">
                  <c:v>38345.624999999993</c:v>
                </c:pt>
                <c:pt idx="78">
                  <c:v>38345.75</c:v>
                </c:pt>
                <c:pt idx="79">
                  <c:v>38345.875</c:v>
                </c:pt>
                <c:pt idx="80">
                  <c:v>38346</c:v>
                </c:pt>
                <c:pt idx="81">
                  <c:v>38346.124999999993</c:v>
                </c:pt>
                <c:pt idx="82">
                  <c:v>38346.25</c:v>
                </c:pt>
                <c:pt idx="83">
                  <c:v>38346.375</c:v>
                </c:pt>
                <c:pt idx="84">
                  <c:v>38346.5</c:v>
                </c:pt>
                <c:pt idx="85">
                  <c:v>38346.624999999993</c:v>
                </c:pt>
                <c:pt idx="86">
                  <c:v>38346.75</c:v>
                </c:pt>
                <c:pt idx="87">
                  <c:v>38346.875</c:v>
                </c:pt>
                <c:pt idx="88">
                  <c:v>38347</c:v>
                </c:pt>
                <c:pt idx="89">
                  <c:v>38347.124999999993</c:v>
                </c:pt>
                <c:pt idx="90">
                  <c:v>38347.25</c:v>
                </c:pt>
                <c:pt idx="91">
                  <c:v>38347.375</c:v>
                </c:pt>
                <c:pt idx="92">
                  <c:v>38347.5</c:v>
                </c:pt>
                <c:pt idx="93">
                  <c:v>38347.624999999993</c:v>
                </c:pt>
                <c:pt idx="94">
                  <c:v>38347.75</c:v>
                </c:pt>
                <c:pt idx="95">
                  <c:v>38347.875</c:v>
                </c:pt>
                <c:pt idx="96">
                  <c:v>38348</c:v>
                </c:pt>
                <c:pt idx="97">
                  <c:v>38348.124999999993</c:v>
                </c:pt>
                <c:pt idx="98">
                  <c:v>38348.25</c:v>
                </c:pt>
                <c:pt idx="99">
                  <c:v>38348.375</c:v>
                </c:pt>
                <c:pt idx="100">
                  <c:v>38348.5</c:v>
                </c:pt>
                <c:pt idx="101">
                  <c:v>38348.624999999993</c:v>
                </c:pt>
                <c:pt idx="102">
                  <c:v>38348.75</c:v>
                </c:pt>
                <c:pt idx="103">
                  <c:v>38348.875</c:v>
                </c:pt>
                <c:pt idx="104">
                  <c:v>38349</c:v>
                </c:pt>
                <c:pt idx="105">
                  <c:v>38349.124999999993</c:v>
                </c:pt>
                <c:pt idx="106">
                  <c:v>38349.25</c:v>
                </c:pt>
                <c:pt idx="107">
                  <c:v>38349.375</c:v>
                </c:pt>
                <c:pt idx="108">
                  <c:v>38349.5</c:v>
                </c:pt>
                <c:pt idx="109">
                  <c:v>38349.624999999993</c:v>
                </c:pt>
                <c:pt idx="110">
                  <c:v>38349.75</c:v>
                </c:pt>
                <c:pt idx="111">
                  <c:v>38349.875</c:v>
                </c:pt>
                <c:pt idx="112">
                  <c:v>38350</c:v>
                </c:pt>
                <c:pt idx="113">
                  <c:v>38350.124999999993</c:v>
                </c:pt>
                <c:pt idx="114">
                  <c:v>38350.25</c:v>
                </c:pt>
                <c:pt idx="115">
                  <c:v>38350.375</c:v>
                </c:pt>
                <c:pt idx="116">
                  <c:v>38350.5</c:v>
                </c:pt>
                <c:pt idx="117">
                  <c:v>38350.624999999993</c:v>
                </c:pt>
                <c:pt idx="118">
                  <c:v>38350.75</c:v>
                </c:pt>
                <c:pt idx="119">
                  <c:v>38350.875</c:v>
                </c:pt>
                <c:pt idx="120">
                  <c:v>38351</c:v>
                </c:pt>
                <c:pt idx="121">
                  <c:v>38351.124999999993</c:v>
                </c:pt>
                <c:pt idx="122">
                  <c:v>38351.25</c:v>
                </c:pt>
                <c:pt idx="123">
                  <c:v>38351.375</c:v>
                </c:pt>
                <c:pt idx="124">
                  <c:v>38351.5</c:v>
                </c:pt>
                <c:pt idx="125">
                  <c:v>38351.624999999993</c:v>
                </c:pt>
                <c:pt idx="126">
                  <c:v>38351.75</c:v>
                </c:pt>
                <c:pt idx="127">
                  <c:v>38351.875</c:v>
                </c:pt>
                <c:pt idx="128">
                  <c:v>38352</c:v>
                </c:pt>
                <c:pt idx="129">
                  <c:v>38352.124999999993</c:v>
                </c:pt>
                <c:pt idx="130">
                  <c:v>38352.25</c:v>
                </c:pt>
                <c:pt idx="131">
                  <c:v>38352.375</c:v>
                </c:pt>
                <c:pt idx="132">
                  <c:v>38352.5</c:v>
                </c:pt>
                <c:pt idx="133">
                  <c:v>38352.624999999993</c:v>
                </c:pt>
                <c:pt idx="134">
                  <c:v>38352.75</c:v>
                </c:pt>
                <c:pt idx="135">
                  <c:v>38352.875</c:v>
                </c:pt>
              </c:numCache>
            </c:numRef>
          </c:xVal>
          <c:yVal>
            <c:numRef>
              <c:f>'Ταχύτητα ανέμου'!$N$3:$N$138</c:f>
              <c:numCache>
                <c:formatCode>General</c:formatCode>
                <c:ptCount val="136"/>
                <c:pt idx="0">
                  <c:v>-1.0395773433972517</c:v>
                </c:pt>
                <c:pt idx="1">
                  <c:v>-0.99550246488964356</c:v>
                </c:pt>
                <c:pt idx="2">
                  <c:v>-1.0505084433424319</c:v>
                </c:pt>
                <c:pt idx="3">
                  <c:v>-0.55785004602414912</c:v>
                </c:pt>
                <c:pt idx="4">
                  <c:v>-0.5730354414520441</c:v>
                </c:pt>
                <c:pt idx="5">
                  <c:v>-0.66573957541336415</c:v>
                </c:pt>
                <c:pt idx="6">
                  <c:v>-1.1528233510594228</c:v>
                </c:pt>
                <c:pt idx="7">
                  <c:v>-1.0714453106494</c:v>
                </c:pt>
                <c:pt idx="8">
                  <c:v>-1.0395773433972517</c:v>
                </c:pt>
                <c:pt idx="9">
                  <c:v>-0.99550246488964356</c:v>
                </c:pt>
                <c:pt idx="10">
                  <c:v>-1.0505084433424319</c:v>
                </c:pt>
                <c:pt idx="11">
                  <c:v>-0.55785004602414912</c:v>
                </c:pt>
                <c:pt idx="12">
                  <c:v>-1.4065980189166178</c:v>
                </c:pt>
                <c:pt idx="13">
                  <c:v>-0.31773934281092309</c:v>
                </c:pt>
                <c:pt idx="14">
                  <c:v>-0.48971309911027461</c:v>
                </c:pt>
                <c:pt idx="15">
                  <c:v>-0.21624138870107831</c:v>
                </c:pt>
                <c:pt idx="16">
                  <c:v>1.5085349462546822E-2</c:v>
                </c:pt>
                <c:pt idx="17">
                  <c:v>-0.99550246488964356</c:v>
                </c:pt>
                <c:pt idx="18">
                  <c:v>-4.2170648957704962E-2</c:v>
                </c:pt>
                <c:pt idx="19">
                  <c:v>0.10743778664168779</c:v>
                </c:pt>
                <c:pt idx="20">
                  <c:v>-0.23961041046621462</c:v>
                </c:pt>
                <c:pt idx="21">
                  <c:v>-0.14373922650970344</c:v>
                </c:pt>
                <c:pt idx="22">
                  <c:v>0.33917471582616637</c:v>
                </c:pt>
                <c:pt idx="23">
                  <c:v>0.63896253324724728</c:v>
                </c:pt>
                <c:pt idx="24">
                  <c:v>0.71819381136908189</c:v>
                </c:pt>
                <c:pt idx="25">
                  <c:v>0.68880726106000734</c:v>
                </c:pt>
                <c:pt idx="26">
                  <c:v>0.12588565010641625</c:v>
                </c:pt>
                <c:pt idx="27">
                  <c:v>0.10743778664168779</c:v>
                </c:pt>
                <c:pt idx="28">
                  <c:v>0.42723965150544535</c:v>
                </c:pt>
                <c:pt idx="29">
                  <c:v>0.72626135499639555</c:v>
                </c:pt>
                <c:pt idx="30">
                  <c:v>-0.48971309911027461</c:v>
                </c:pt>
                <c:pt idx="31">
                  <c:v>0.46792174885758231</c:v>
                </c:pt>
                <c:pt idx="32">
                  <c:v>0.19086246493917988</c:v>
                </c:pt>
                <c:pt idx="33">
                  <c:v>0.68880726106000734</c:v>
                </c:pt>
                <c:pt idx="34">
                  <c:v>-1.0505084433424319</c:v>
                </c:pt>
                <c:pt idx="35">
                  <c:v>-1.2231378786899834</c:v>
                </c:pt>
                <c:pt idx="36">
                  <c:v>-1.4065980189166178</c:v>
                </c:pt>
                <c:pt idx="37">
                  <c:v>-0.66573957541336415</c:v>
                </c:pt>
                <c:pt idx="38">
                  <c:v>-1.1528233510594228</c:v>
                </c:pt>
                <c:pt idx="39">
                  <c:v>-1.0714453106494</c:v>
                </c:pt>
                <c:pt idx="40">
                  <c:v>-1.0395773433972517</c:v>
                </c:pt>
                <c:pt idx="41">
                  <c:v>-0.99550246488964356</c:v>
                </c:pt>
                <c:pt idx="42">
                  <c:v>-1.0505084433424319</c:v>
                </c:pt>
                <c:pt idx="43">
                  <c:v>-1.2231378786899834</c:v>
                </c:pt>
                <c:pt idx="44">
                  <c:v>-1.4065980189166178</c:v>
                </c:pt>
                <c:pt idx="45">
                  <c:v>-1.3617400406182421</c:v>
                </c:pt>
                <c:pt idx="46">
                  <c:v>-1.1528233510594228</c:v>
                </c:pt>
                <c:pt idx="47">
                  <c:v>-1.0714453106494</c:v>
                </c:pt>
                <c:pt idx="48">
                  <c:v>-1.0395773433972517</c:v>
                </c:pt>
                <c:pt idx="49">
                  <c:v>-0.99550246488964356</c:v>
                </c:pt>
                <c:pt idx="50">
                  <c:v>-1.0505084433424319</c:v>
                </c:pt>
                <c:pt idx="51">
                  <c:v>-0.55785004602414912</c:v>
                </c:pt>
                <c:pt idx="52">
                  <c:v>-0.73974795694495965</c:v>
                </c:pt>
                <c:pt idx="53">
                  <c:v>-1.3617400406182421</c:v>
                </c:pt>
                <c:pt idx="54">
                  <c:v>-0.48971309911027461</c:v>
                </c:pt>
                <c:pt idx="55">
                  <c:v>0.12584018007825234</c:v>
                </c:pt>
                <c:pt idx="56">
                  <c:v>0.36663958041581307</c:v>
                </c:pt>
                <c:pt idx="57">
                  <c:v>0.18351434327511182</c:v>
                </c:pt>
                <c:pt idx="58">
                  <c:v>-0.37828324708594813</c:v>
                </c:pt>
                <c:pt idx="59">
                  <c:v>-0.22520612969122999</c:v>
                </c:pt>
                <c:pt idx="60">
                  <c:v>-0.73974795694495965</c:v>
                </c:pt>
                <c:pt idx="61">
                  <c:v>-0.4917394591121429</c:v>
                </c:pt>
                <c:pt idx="62">
                  <c:v>-1.1528233510594228</c:v>
                </c:pt>
                <c:pt idx="63">
                  <c:v>-0.3872821730907442</c:v>
                </c:pt>
                <c:pt idx="64">
                  <c:v>1.5085349462546822E-2</c:v>
                </c:pt>
                <c:pt idx="65">
                  <c:v>-0.99550246488964356</c:v>
                </c:pt>
                <c:pt idx="66">
                  <c:v>-1.0505084433424319</c:v>
                </c:pt>
                <c:pt idx="67">
                  <c:v>-1.2231378786899834</c:v>
                </c:pt>
                <c:pt idx="68">
                  <c:v>-0.73974795694495965</c:v>
                </c:pt>
                <c:pt idx="69">
                  <c:v>-1.3617400406182421</c:v>
                </c:pt>
                <c:pt idx="70">
                  <c:v>-0.48971309911027461</c:v>
                </c:pt>
                <c:pt idx="71">
                  <c:v>-1.0714453106494</c:v>
                </c:pt>
                <c:pt idx="72">
                  <c:v>-0.33646888149072079</c:v>
                </c:pt>
                <c:pt idx="73">
                  <c:v>-0.32177857450978548</c:v>
                </c:pt>
                <c:pt idx="74">
                  <c:v>-1.0505084433424319</c:v>
                </c:pt>
                <c:pt idx="75">
                  <c:v>-0.39152808785769072</c:v>
                </c:pt>
                <c:pt idx="76">
                  <c:v>-0.40632292595913039</c:v>
                </c:pt>
                <c:pt idx="77">
                  <c:v>-0.31773934281092309</c:v>
                </c:pt>
                <c:pt idx="78">
                  <c:v>-1.1528233510594228</c:v>
                </c:pt>
                <c:pt idx="79">
                  <c:v>-1.0714453106494</c:v>
                </c:pt>
                <c:pt idx="80">
                  <c:v>-1.0395773433972517</c:v>
                </c:pt>
                <c:pt idx="81">
                  <c:v>-0.99550246488964356</c:v>
                </c:pt>
                <c:pt idx="82">
                  <c:v>-1.0505084433424319</c:v>
                </c:pt>
                <c:pt idx="83">
                  <c:v>-1.2231378786899834</c:v>
                </c:pt>
                <c:pt idx="84">
                  <c:v>-1.4065980189166178</c:v>
                </c:pt>
                <c:pt idx="85">
                  <c:v>-1.3617400406182421</c:v>
                </c:pt>
                <c:pt idx="86">
                  <c:v>-1.1528233510594228</c:v>
                </c:pt>
                <c:pt idx="87">
                  <c:v>-0.3872821730907442</c:v>
                </c:pt>
                <c:pt idx="88">
                  <c:v>-1.0395773433972517</c:v>
                </c:pt>
                <c:pt idx="89">
                  <c:v>1.5083370680146127E-2</c:v>
                </c:pt>
                <c:pt idx="90">
                  <c:v>0.46199824823465946</c:v>
                </c:pt>
                <c:pt idx="91">
                  <c:v>-0.22520612969122999</c:v>
                </c:pt>
                <c:pt idx="92">
                  <c:v>-7.2897894973299557E-2</c:v>
                </c:pt>
                <c:pt idx="93">
                  <c:v>-0.31773934281092309</c:v>
                </c:pt>
                <c:pt idx="94">
                  <c:v>7.6195898515895952E-3</c:v>
                </c:pt>
                <c:pt idx="95">
                  <c:v>0.12584018007825234</c:v>
                </c:pt>
                <c:pt idx="96">
                  <c:v>0.36663958041581307</c:v>
                </c:pt>
                <c:pt idx="97">
                  <c:v>0.52037628846504158</c:v>
                </c:pt>
                <c:pt idx="98">
                  <c:v>0.12588565010641625</c:v>
                </c:pt>
                <c:pt idx="99">
                  <c:v>0.27375974480814669</c:v>
                </c:pt>
                <c:pt idx="100">
                  <c:v>0.26052713601253025</c:v>
                </c:pt>
                <c:pt idx="101">
                  <c:v>-0.31773934281092309</c:v>
                </c:pt>
                <c:pt idx="102">
                  <c:v>-0.32393553612298631</c:v>
                </c:pt>
                <c:pt idx="103">
                  <c:v>-0.3872821730907442</c:v>
                </c:pt>
                <c:pt idx="104">
                  <c:v>-1.0395773433972517</c:v>
                </c:pt>
                <c:pt idx="105">
                  <c:v>-0.15334760191481919</c:v>
                </c:pt>
                <c:pt idx="106">
                  <c:v>0.12588565010641625</c:v>
                </c:pt>
                <c:pt idx="107">
                  <c:v>-0.22520612969122999</c:v>
                </c:pt>
                <c:pt idx="108">
                  <c:v>-7.2897894973299557E-2</c:v>
                </c:pt>
                <c:pt idx="109">
                  <c:v>-0.66573957541336415</c:v>
                </c:pt>
                <c:pt idx="110">
                  <c:v>-0.48971309911027461</c:v>
                </c:pt>
                <c:pt idx="111">
                  <c:v>-0.21624138870107831</c:v>
                </c:pt>
                <c:pt idx="112">
                  <c:v>0.19086246493917988</c:v>
                </c:pt>
                <c:pt idx="113">
                  <c:v>0.35194531587007682</c:v>
                </c:pt>
                <c:pt idx="114">
                  <c:v>0.46199824823465946</c:v>
                </c:pt>
                <c:pt idx="115">
                  <c:v>0.44008170297460647</c:v>
                </c:pt>
                <c:pt idx="116">
                  <c:v>-0.73974795694495965</c:v>
                </c:pt>
                <c:pt idx="117">
                  <c:v>-1.3617400406182421</c:v>
                </c:pt>
                <c:pt idx="118">
                  <c:v>-1.1528233510594228</c:v>
                </c:pt>
                <c:pt idx="119">
                  <c:v>-1.0714453106494</c:v>
                </c:pt>
                <c:pt idx="120">
                  <c:v>-1.0395773433972517</c:v>
                </c:pt>
                <c:pt idx="121">
                  <c:v>-0.99550246488964356</c:v>
                </c:pt>
                <c:pt idx="122">
                  <c:v>-1.0505084433424319</c:v>
                </c:pt>
                <c:pt idx="123">
                  <c:v>0.44008170297460647</c:v>
                </c:pt>
                <c:pt idx="124">
                  <c:v>-1.4065980189166178</c:v>
                </c:pt>
                <c:pt idx="125">
                  <c:v>0.20426100609273659</c:v>
                </c:pt>
                <c:pt idx="126">
                  <c:v>-0.15815797313569829</c:v>
                </c:pt>
                <c:pt idx="127">
                  <c:v>-0.21624138870107831</c:v>
                </c:pt>
                <c:pt idx="128">
                  <c:v>-1.0395773433972517</c:v>
                </c:pt>
                <c:pt idx="129">
                  <c:v>1.5083370680146127E-2</c:v>
                </c:pt>
                <c:pt idx="130">
                  <c:v>-0.37828324708594813</c:v>
                </c:pt>
                <c:pt idx="131">
                  <c:v>0.10743778664168779</c:v>
                </c:pt>
                <c:pt idx="132">
                  <c:v>-7.2897894973299557E-2</c:v>
                </c:pt>
                <c:pt idx="133">
                  <c:v>-0.66573957541336415</c:v>
                </c:pt>
                <c:pt idx="134">
                  <c:v>-0.15815797313569829</c:v>
                </c:pt>
                <c:pt idx="135">
                  <c:v>-1.07144531064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02C-40F9-8CCC-4CDA04848AD2}"/>
            </c:ext>
          </c:extLst>
        </c:ser>
        <c:ser>
          <c:idx val="1"/>
          <c:order val="1"/>
          <c:tx>
            <c:strRef>
              <c:f>'Ταχύτητα ανέμου'!$O$2</c:f>
              <c:strCache>
                <c:ptCount val="1"/>
                <c:pt idx="0">
                  <c:v>3ωρη πρόγνωση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Ταχύτητα ανέμου'!$M$3:$M$138</c:f>
              <c:numCache>
                <c:formatCode>d/m/yy\ h:mm;@</c:formatCode>
                <c:ptCount val="136"/>
                <c:pt idx="0">
                  <c:v>38336</c:v>
                </c:pt>
                <c:pt idx="1">
                  <c:v>38336.124999999993</c:v>
                </c:pt>
                <c:pt idx="2">
                  <c:v>38336.25</c:v>
                </c:pt>
                <c:pt idx="3">
                  <c:v>38336.375</c:v>
                </c:pt>
                <c:pt idx="4">
                  <c:v>38336.5</c:v>
                </c:pt>
                <c:pt idx="5">
                  <c:v>38336.624999999993</c:v>
                </c:pt>
                <c:pt idx="6">
                  <c:v>38336.75</c:v>
                </c:pt>
                <c:pt idx="7">
                  <c:v>38336.875</c:v>
                </c:pt>
                <c:pt idx="8">
                  <c:v>38337</c:v>
                </c:pt>
                <c:pt idx="9">
                  <c:v>38337.124999999993</c:v>
                </c:pt>
                <c:pt idx="10">
                  <c:v>38337.25</c:v>
                </c:pt>
                <c:pt idx="11">
                  <c:v>38337.375</c:v>
                </c:pt>
                <c:pt idx="12">
                  <c:v>38337.5</c:v>
                </c:pt>
                <c:pt idx="13">
                  <c:v>38337.624999999993</c:v>
                </c:pt>
                <c:pt idx="14">
                  <c:v>38337.75</c:v>
                </c:pt>
                <c:pt idx="15">
                  <c:v>38337.875</c:v>
                </c:pt>
                <c:pt idx="16">
                  <c:v>38338</c:v>
                </c:pt>
                <c:pt idx="17">
                  <c:v>38338.124999999993</c:v>
                </c:pt>
                <c:pt idx="18">
                  <c:v>38338.25</c:v>
                </c:pt>
                <c:pt idx="19">
                  <c:v>38338.375</c:v>
                </c:pt>
                <c:pt idx="20">
                  <c:v>38338.5</c:v>
                </c:pt>
                <c:pt idx="21">
                  <c:v>38338.624999999993</c:v>
                </c:pt>
                <c:pt idx="22">
                  <c:v>38338.75</c:v>
                </c:pt>
                <c:pt idx="23">
                  <c:v>38338.875</c:v>
                </c:pt>
                <c:pt idx="24">
                  <c:v>38339</c:v>
                </c:pt>
                <c:pt idx="25">
                  <c:v>38339.124999999993</c:v>
                </c:pt>
                <c:pt idx="26">
                  <c:v>38339.25</c:v>
                </c:pt>
                <c:pt idx="27">
                  <c:v>38339.375</c:v>
                </c:pt>
                <c:pt idx="28">
                  <c:v>38339.5</c:v>
                </c:pt>
                <c:pt idx="29">
                  <c:v>38339.624999999993</c:v>
                </c:pt>
                <c:pt idx="30">
                  <c:v>38339.75</c:v>
                </c:pt>
                <c:pt idx="31">
                  <c:v>38339.875</c:v>
                </c:pt>
                <c:pt idx="32">
                  <c:v>38340</c:v>
                </c:pt>
                <c:pt idx="33">
                  <c:v>38340.124999999993</c:v>
                </c:pt>
                <c:pt idx="34">
                  <c:v>38340.25</c:v>
                </c:pt>
                <c:pt idx="35">
                  <c:v>38340.375</c:v>
                </c:pt>
                <c:pt idx="36">
                  <c:v>38340.5</c:v>
                </c:pt>
                <c:pt idx="37">
                  <c:v>38340.624999999993</c:v>
                </c:pt>
                <c:pt idx="38">
                  <c:v>38340.75</c:v>
                </c:pt>
                <c:pt idx="39">
                  <c:v>38340.875</c:v>
                </c:pt>
                <c:pt idx="40">
                  <c:v>38341</c:v>
                </c:pt>
                <c:pt idx="41">
                  <c:v>38341.124999999993</c:v>
                </c:pt>
                <c:pt idx="42">
                  <c:v>38341.25</c:v>
                </c:pt>
                <c:pt idx="43">
                  <c:v>38341.375</c:v>
                </c:pt>
                <c:pt idx="44">
                  <c:v>38341.5</c:v>
                </c:pt>
                <c:pt idx="45">
                  <c:v>38341.624999999993</c:v>
                </c:pt>
                <c:pt idx="46">
                  <c:v>38341.75</c:v>
                </c:pt>
                <c:pt idx="47">
                  <c:v>38341.875</c:v>
                </c:pt>
                <c:pt idx="48">
                  <c:v>38342</c:v>
                </c:pt>
                <c:pt idx="49">
                  <c:v>38342.124999999993</c:v>
                </c:pt>
                <c:pt idx="50">
                  <c:v>38342.25</c:v>
                </c:pt>
                <c:pt idx="51">
                  <c:v>38342.375</c:v>
                </c:pt>
                <c:pt idx="52">
                  <c:v>38342.5</c:v>
                </c:pt>
                <c:pt idx="53">
                  <c:v>38342.624999999993</c:v>
                </c:pt>
                <c:pt idx="54">
                  <c:v>38342.75</c:v>
                </c:pt>
                <c:pt idx="55">
                  <c:v>38342.875</c:v>
                </c:pt>
                <c:pt idx="56">
                  <c:v>38343</c:v>
                </c:pt>
                <c:pt idx="57">
                  <c:v>38343.124999999993</c:v>
                </c:pt>
                <c:pt idx="58">
                  <c:v>38343.25</c:v>
                </c:pt>
                <c:pt idx="59">
                  <c:v>38343.375</c:v>
                </c:pt>
                <c:pt idx="60">
                  <c:v>38343.5</c:v>
                </c:pt>
                <c:pt idx="61">
                  <c:v>38343.624999999993</c:v>
                </c:pt>
                <c:pt idx="62">
                  <c:v>38343.75</c:v>
                </c:pt>
                <c:pt idx="63">
                  <c:v>38343.875</c:v>
                </c:pt>
                <c:pt idx="64">
                  <c:v>38344</c:v>
                </c:pt>
                <c:pt idx="65">
                  <c:v>38344.124999999993</c:v>
                </c:pt>
                <c:pt idx="66">
                  <c:v>38344.25</c:v>
                </c:pt>
                <c:pt idx="67">
                  <c:v>38344.375</c:v>
                </c:pt>
                <c:pt idx="68">
                  <c:v>38344.5</c:v>
                </c:pt>
                <c:pt idx="69">
                  <c:v>38344.624999999993</c:v>
                </c:pt>
                <c:pt idx="70">
                  <c:v>38344.75</c:v>
                </c:pt>
                <c:pt idx="71">
                  <c:v>38344.875</c:v>
                </c:pt>
                <c:pt idx="72">
                  <c:v>38345</c:v>
                </c:pt>
                <c:pt idx="73">
                  <c:v>38345.124999999993</c:v>
                </c:pt>
                <c:pt idx="74">
                  <c:v>38345.25</c:v>
                </c:pt>
                <c:pt idx="75">
                  <c:v>38345.375</c:v>
                </c:pt>
                <c:pt idx="76">
                  <c:v>38345.5</c:v>
                </c:pt>
                <c:pt idx="77">
                  <c:v>38345.624999999993</c:v>
                </c:pt>
                <c:pt idx="78">
                  <c:v>38345.75</c:v>
                </c:pt>
                <c:pt idx="79">
                  <c:v>38345.875</c:v>
                </c:pt>
                <c:pt idx="80">
                  <c:v>38346</c:v>
                </c:pt>
                <c:pt idx="81">
                  <c:v>38346.124999999993</c:v>
                </c:pt>
                <c:pt idx="82">
                  <c:v>38346.25</c:v>
                </c:pt>
                <c:pt idx="83">
                  <c:v>38346.375</c:v>
                </c:pt>
                <c:pt idx="84">
                  <c:v>38346.5</c:v>
                </c:pt>
                <c:pt idx="85">
                  <c:v>38346.624999999993</c:v>
                </c:pt>
                <c:pt idx="86">
                  <c:v>38346.75</c:v>
                </c:pt>
                <c:pt idx="87">
                  <c:v>38346.875</c:v>
                </c:pt>
                <c:pt idx="88">
                  <c:v>38347</c:v>
                </c:pt>
                <c:pt idx="89">
                  <c:v>38347.124999999993</c:v>
                </c:pt>
                <c:pt idx="90">
                  <c:v>38347.25</c:v>
                </c:pt>
                <c:pt idx="91">
                  <c:v>38347.375</c:v>
                </c:pt>
                <c:pt idx="92">
                  <c:v>38347.5</c:v>
                </c:pt>
                <c:pt idx="93">
                  <c:v>38347.624999999993</c:v>
                </c:pt>
                <c:pt idx="94">
                  <c:v>38347.75</c:v>
                </c:pt>
                <c:pt idx="95">
                  <c:v>38347.875</c:v>
                </c:pt>
                <c:pt idx="96">
                  <c:v>38348</c:v>
                </c:pt>
                <c:pt idx="97">
                  <c:v>38348.124999999993</c:v>
                </c:pt>
                <c:pt idx="98">
                  <c:v>38348.25</c:v>
                </c:pt>
                <c:pt idx="99">
                  <c:v>38348.375</c:v>
                </c:pt>
                <c:pt idx="100">
                  <c:v>38348.5</c:v>
                </c:pt>
                <c:pt idx="101">
                  <c:v>38348.624999999993</c:v>
                </c:pt>
                <c:pt idx="102">
                  <c:v>38348.75</c:v>
                </c:pt>
                <c:pt idx="103">
                  <c:v>38348.875</c:v>
                </c:pt>
                <c:pt idx="104">
                  <c:v>38349</c:v>
                </c:pt>
                <c:pt idx="105">
                  <c:v>38349.124999999993</c:v>
                </c:pt>
                <c:pt idx="106">
                  <c:v>38349.25</c:v>
                </c:pt>
                <c:pt idx="107">
                  <c:v>38349.375</c:v>
                </c:pt>
                <c:pt idx="108">
                  <c:v>38349.5</c:v>
                </c:pt>
                <c:pt idx="109">
                  <c:v>38349.624999999993</c:v>
                </c:pt>
                <c:pt idx="110">
                  <c:v>38349.75</c:v>
                </c:pt>
                <c:pt idx="111">
                  <c:v>38349.875</c:v>
                </c:pt>
                <c:pt idx="112">
                  <c:v>38350</c:v>
                </c:pt>
                <c:pt idx="113">
                  <c:v>38350.124999999993</c:v>
                </c:pt>
                <c:pt idx="114">
                  <c:v>38350.25</c:v>
                </c:pt>
                <c:pt idx="115">
                  <c:v>38350.375</c:v>
                </c:pt>
                <c:pt idx="116">
                  <c:v>38350.5</c:v>
                </c:pt>
                <c:pt idx="117">
                  <c:v>38350.624999999993</c:v>
                </c:pt>
                <c:pt idx="118">
                  <c:v>38350.75</c:v>
                </c:pt>
                <c:pt idx="119">
                  <c:v>38350.875</c:v>
                </c:pt>
                <c:pt idx="120">
                  <c:v>38351</c:v>
                </c:pt>
                <c:pt idx="121">
                  <c:v>38351.124999999993</c:v>
                </c:pt>
                <c:pt idx="122">
                  <c:v>38351.25</c:v>
                </c:pt>
                <c:pt idx="123">
                  <c:v>38351.375</c:v>
                </c:pt>
                <c:pt idx="124">
                  <c:v>38351.5</c:v>
                </c:pt>
                <c:pt idx="125">
                  <c:v>38351.624999999993</c:v>
                </c:pt>
                <c:pt idx="126">
                  <c:v>38351.75</c:v>
                </c:pt>
                <c:pt idx="127">
                  <c:v>38351.875</c:v>
                </c:pt>
                <c:pt idx="128">
                  <c:v>38352</c:v>
                </c:pt>
                <c:pt idx="129">
                  <c:v>38352.124999999993</c:v>
                </c:pt>
                <c:pt idx="130">
                  <c:v>38352.25</c:v>
                </c:pt>
                <c:pt idx="131">
                  <c:v>38352.375</c:v>
                </c:pt>
                <c:pt idx="132">
                  <c:v>38352.5</c:v>
                </c:pt>
                <c:pt idx="133">
                  <c:v>38352.624999999993</c:v>
                </c:pt>
                <c:pt idx="134">
                  <c:v>38352.75</c:v>
                </c:pt>
                <c:pt idx="135">
                  <c:v>38352.875</c:v>
                </c:pt>
              </c:numCache>
            </c:numRef>
          </c:xVal>
          <c:yVal>
            <c:numRef>
              <c:f>'Ταχύτητα ανέμου'!$O$3:$O$138</c:f>
              <c:numCache>
                <c:formatCode>General</c:formatCode>
                <c:ptCount val="136"/>
                <c:pt idx="0">
                  <c:v>-0.70299810641891702</c:v>
                </c:pt>
                <c:pt idx="1">
                  <c:v>-0.7350140045020136</c:v>
                </c:pt>
                <c:pt idx="2">
                  <c:v>-0.72468411361764962</c:v>
                </c:pt>
                <c:pt idx="3">
                  <c:v>-0.78481946864417995</c:v>
                </c:pt>
                <c:pt idx="4">
                  <c:v>-0.53448607027144857</c:v>
                </c:pt>
                <c:pt idx="5">
                  <c:v>-0.4946956356353458</c:v>
                </c:pt>
                <c:pt idx="6">
                  <c:v>-0.54477863936803994</c:v>
                </c:pt>
                <c:pt idx="7">
                  <c:v>-0.82031723498400588</c:v>
                </c:pt>
                <c:pt idx="8">
                  <c:v>-0.82143848623296456</c:v>
                </c:pt>
                <c:pt idx="9">
                  <c:v>-0.81966286047891368</c:v>
                </c:pt>
                <c:pt idx="10">
                  <c:v>-0.7919143764767097</c:v>
                </c:pt>
                <c:pt idx="11">
                  <c:v>-0.81093941029678396</c:v>
                </c:pt>
                <c:pt idx="12">
                  <c:v>-0.55038576940285122</c:v>
                </c:pt>
                <c:pt idx="13">
                  <c:v>-0.9815906415397625</c:v>
                </c:pt>
                <c:pt idx="14">
                  <c:v>-0.45548422397485477</c:v>
                </c:pt>
                <c:pt idx="15">
                  <c:v>-0.46731218807104663</c:v>
                </c:pt>
                <c:pt idx="16">
                  <c:v>-0.30013817722242347</c:v>
                </c:pt>
                <c:pt idx="17">
                  <c:v>-0.12592314279002817</c:v>
                </c:pt>
                <c:pt idx="18">
                  <c:v>-0.62452379730801311</c:v>
                </c:pt>
                <c:pt idx="19">
                  <c:v>-0.19321789734677641</c:v>
                </c:pt>
                <c:pt idx="20">
                  <c:v>-4.2378943225067876E-2</c:v>
                </c:pt>
                <c:pt idx="21">
                  <c:v>-0.18263606474423921</c:v>
                </c:pt>
                <c:pt idx="22">
                  <c:v>-0.13059006820505237</c:v>
                </c:pt>
                <c:pt idx="23">
                  <c:v>0.14032937543450888</c:v>
                </c:pt>
                <c:pt idx="24">
                  <c:v>0.32734901030346847</c:v>
                </c:pt>
                <c:pt idx="25">
                  <c:v>0.43518545077570542</c:v>
                </c:pt>
                <c:pt idx="26">
                  <c:v>0.47891911494083095</c:v>
                </c:pt>
                <c:pt idx="27">
                  <c:v>0.18391308673974438</c:v>
                </c:pt>
                <c:pt idx="28">
                  <c:v>0.12259924437897379</c:v>
                </c:pt>
                <c:pt idx="29">
                  <c:v>0.28672924316421111</c:v>
                </c:pt>
                <c:pt idx="30">
                  <c:v>0.47966415958510877</c:v>
                </c:pt>
                <c:pt idx="31">
                  <c:v>-0.13380272989275227</c:v>
                </c:pt>
                <c:pt idx="32">
                  <c:v>0.28681290360586026</c:v>
                </c:pt>
                <c:pt idx="33">
                  <c:v>0.16710507073697234</c:v>
                </c:pt>
                <c:pt idx="34">
                  <c:v>0.40990829317258703</c:v>
                </c:pt>
                <c:pt idx="35">
                  <c:v>-0.46494704622971628</c:v>
                </c:pt>
                <c:pt idx="36">
                  <c:v>-0.69994032317689048</c:v>
                </c:pt>
                <c:pt idx="37">
                  <c:v>-0.90762838149786296</c:v>
                </c:pt>
                <c:pt idx="38">
                  <c:v>-0.57833820702723249</c:v>
                </c:pt>
                <c:pt idx="39">
                  <c:v>-0.79249598737834592</c:v>
                </c:pt>
                <c:pt idx="40">
                  <c:v>-0.77110722579693436</c:v>
                </c:pt>
                <c:pt idx="41">
                  <c:v>-0.79673636704372819</c:v>
                </c:pt>
                <c:pt idx="42">
                  <c:v>-0.81337859730840645</c:v>
                </c:pt>
                <c:pt idx="43">
                  <c:v>-0.8419909324164877</c:v>
                </c:pt>
                <c:pt idx="44">
                  <c:v>-0.92115801397683061</c:v>
                </c:pt>
                <c:pt idx="45">
                  <c:v>-1.0364671513405681</c:v>
                </c:pt>
                <c:pt idx="46">
                  <c:v>-1.0447924049778807</c:v>
                </c:pt>
                <c:pt idx="47">
                  <c:v>-0.93829950657194661</c:v>
                </c:pt>
                <c:pt idx="48">
                  <c:v>-0.87974541759221347</c:v>
                </c:pt>
                <c:pt idx="49">
                  <c:v>-0.84808319302461743</c:v>
                </c:pt>
                <c:pt idx="50">
                  <c:v>-0.81879681614946243</c:v>
                </c:pt>
                <c:pt idx="51">
                  <c:v>-0.84539378279493427</c:v>
                </c:pt>
                <c:pt idx="52">
                  <c:v>-0.58270952582263147</c:v>
                </c:pt>
                <c:pt idx="53">
                  <c:v>-0.62240503199383268</c:v>
                </c:pt>
                <c:pt idx="54">
                  <c:v>-0.95162002447561733</c:v>
                </c:pt>
                <c:pt idx="55">
                  <c:v>-0.52548494302768456</c:v>
                </c:pt>
                <c:pt idx="56">
                  <c:v>-0.14190581328231491</c:v>
                </c:pt>
                <c:pt idx="57">
                  <c:v>7.3095498215961813E-2</c:v>
                </c:pt>
                <c:pt idx="58">
                  <c:v>5.4751376965585803E-2</c:v>
                </c:pt>
                <c:pt idx="59">
                  <c:v>-0.22604527270385028</c:v>
                </c:pt>
                <c:pt idx="60">
                  <c:v>-0.20838014341736483</c:v>
                </c:pt>
                <c:pt idx="61">
                  <c:v>-0.47977802672505887</c:v>
                </c:pt>
                <c:pt idx="62">
                  <c:v>-0.36985128193738337</c:v>
                </c:pt>
                <c:pt idx="63">
                  <c:v>-0.7124799303619479</c:v>
                </c:pt>
                <c:pt idx="64">
                  <c:v>-0.37072884517209137</c:v>
                </c:pt>
                <c:pt idx="65">
                  <c:v>-0.12869403145047856</c:v>
                </c:pt>
                <c:pt idx="66">
                  <c:v>-0.63104689872289665</c:v>
                </c:pt>
                <c:pt idx="67">
                  <c:v>-0.73437195364003305</c:v>
                </c:pt>
                <c:pt idx="68">
                  <c:v>-0.86961328310972263</c:v>
                </c:pt>
                <c:pt idx="69">
                  <c:v>-0.66238127350514509</c:v>
                </c:pt>
                <c:pt idx="70">
                  <c:v>-0.959205836348895</c:v>
                </c:pt>
                <c:pt idx="71">
                  <c:v>-0.51062860472399163</c:v>
                </c:pt>
                <c:pt idx="72">
                  <c:v>-0.78260449395679665</c:v>
                </c:pt>
                <c:pt idx="73">
                  <c:v>-0.43430779377704842</c:v>
                </c:pt>
                <c:pt idx="74">
                  <c:v>-0.36481000309831235</c:v>
                </c:pt>
                <c:pt idx="75">
                  <c:v>-0.72627263627629746</c:v>
                </c:pt>
                <c:pt idx="76">
                  <c:v>-0.42170796120378651</c:v>
                </c:pt>
                <c:pt idx="77">
                  <c:v>-0.38166550126859383</c:v>
                </c:pt>
                <c:pt idx="78">
                  <c:v>-0.31586355354855561</c:v>
                </c:pt>
                <c:pt idx="79">
                  <c:v>-0.7355346667863889</c:v>
                </c:pt>
                <c:pt idx="80">
                  <c:v>-0.75438532584367168</c:v>
                </c:pt>
                <c:pt idx="81">
                  <c:v>-0.78394240061431864</c:v>
                </c:pt>
                <c:pt idx="82">
                  <c:v>-0.77599677106518605</c:v>
                </c:pt>
                <c:pt idx="83">
                  <c:v>-0.79251662613129759</c:v>
                </c:pt>
                <c:pt idx="84">
                  <c:v>-0.8967607242234592</c:v>
                </c:pt>
                <c:pt idx="85">
                  <c:v>-1.0349126065510323</c:v>
                </c:pt>
                <c:pt idx="86">
                  <c:v>-1.0522240870151538</c:v>
                </c:pt>
                <c:pt idx="87">
                  <c:v>-0.94759913024627673</c:v>
                </c:pt>
                <c:pt idx="88">
                  <c:v>-0.51573217080829026</c:v>
                </c:pt>
                <c:pt idx="89">
                  <c:v>-0.79161178972109636</c:v>
                </c:pt>
                <c:pt idx="90">
                  <c:v>-0.24542542200277151</c:v>
                </c:pt>
                <c:pt idx="91">
                  <c:v>8.3815559568046996E-2</c:v>
                </c:pt>
                <c:pt idx="92">
                  <c:v>-0.20190164740744918</c:v>
                </c:pt>
                <c:pt idx="93">
                  <c:v>-0.12670711826190539</c:v>
                </c:pt>
                <c:pt idx="94">
                  <c:v>-0.22457468229953007</c:v>
                </c:pt>
                <c:pt idx="95">
                  <c:v>-7.7278419594081729E-2</c:v>
                </c:pt>
                <c:pt idx="96">
                  <c:v>2.7637568356625255E-2</c:v>
                </c:pt>
                <c:pt idx="97">
                  <c:v>0.21032870545863988</c:v>
                </c:pt>
                <c:pt idx="98">
                  <c:v>0.31748220569148716</c:v>
                </c:pt>
                <c:pt idx="99">
                  <c:v>0.12860105821303744</c:v>
                </c:pt>
                <c:pt idx="100">
                  <c:v>0.18257115152272538</c:v>
                </c:pt>
                <c:pt idx="101">
                  <c:v>0.1848990845308246</c:v>
                </c:pt>
                <c:pt idx="102">
                  <c:v>-0.12330335643940504</c:v>
                </c:pt>
                <c:pt idx="103">
                  <c:v>-0.17170905883787357</c:v>
                </c:pt>
                <c:pt idx="104">
                  <c:v>-0.22779018738706913</c:v>
                </c:pt>
                <c:pt idx="105">
                  <c:v>-0.61529258294443534</c:v>
                </c:pt>
                <c:pt idx="106">
                  <c:v>-0.21258619688411695</c:v>
                </c:pt>
                <c:pt idx="107">
                  <c:v>-1.2153518970875458E-2</c:v>
                </c:pt>
                <c:pt idx="108">
                  <c:v>-0.17220595454523213</c:v>
                </c:pt>
                <c:pt idx="109">
                  <c:v>-9.9115476109304046E-2</c:v>
                </c:pt>
                <c:pt idx="110">
                  <c:v>-0.41334971233910012</c:v>
                </c:pt>
                <c:pt idx="111">
                  <c:v>-0.383917794694488</c:v>
                </c:pt>
                <c:pt idx="112">
                  <c:v>-0.22868359844278222</c:v>
                </c:pt>
                <c:pt idx="113">
                  <c:v>3.4562157141128785E-2</c:v>
                </c:pt>
                <c:pt idx="114">
                  <c:v>0.17109116217398471</c:v>
                </c:pt>
                <c:pt idx="115">
                  <c:v>0.26636135841179809</c:v>
                </c:pt>
                <c:pt idx="116">
                  <c:v>0.27679978370352765</c:v>
                </c:pt>
                <c:pt idx="117">
                  <c:v>-0.35391893123300067</c:v>
                </c:pt>
                <c:pt idx="118">
                  <c:v>-0.78401302758566849</c:v>
                </c:pt>
                <c:pt idx="119">
                  <c:v>-0.76730883233509439</c:v>
                </c:pt>
                <c:pt idx="120">
                  <c:v>-0.75735553832886748</c:v>
                </c:pt>
                <c:pt idx="121">
                  <c:v>-0.74854861685856511</c:v>
                </c:pt>
                <c:pt idx="122">
                  <c:v>-0.72939096475204057</c:v>
                </c:pt>
                <c:pt idx="123">
                  <c:v>-0.79385019252892564</c:v>
                </c:pt>
                <c:pt idx="124">
                  <c:v>-2.833929579416828E-2</c:v>
                </c:pt>
                <c:pt idx="125">
                  <c:v>-0.89277721667445908</c:v>
                </c:pt>
                <c:pt idx="126">
                  <c:v>-0.12266410302457473</c:v>
                </c:pt>
                <c:pt idx="127">
                  <c:v>-0.19960096910102049</c:v>
                </c:pt>
                <c:pt idx="128">
                  <c:v>-0.22823374794316181</c:v>
                </c:pt>
                <c:pt idx="129">
                  <c:v>-0.65321240005612469</c:v>
                </c:pt>
                <c:pt idx="130">
                  <c:v>-0.12758034637076746</c:v>
                </c:pt>
                <c:pt idx="131">
                  <c:v>-0.30002925331344776</c:v>
                </c:pt>
                <c:pt idx="132">
                  <c:v>-3.9597697969485736E-2</c:v>
                </c:pt>
                <c:pt idx="133">
                  <c:v>-6.5358583079291113E-2</c:v>
                </c:pt>
                <c:pt idx="134">
                  <c:v>-0.39615017403077707</c:v>
                </c:pt>
                <c:pt idx="135">
                  <c:v>-0.191827152542268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02C-40F9-8CCC-4CDA04848AD2}"/>
            </c:ext>
          </c:extLst>
        </c:ser>
        <c:ser>
          <c:idx val="2"/>
          <c:order val="2"/>
          <c:tx>
            <c:strRef>
              <c:f>'Ταχύτητα ανέμου'!$P$2</c:f>
              <c:strCache>
                <c:ptCount val="1"/>
                <c:pt idx="0">
                  <c:v>6ωρη πρόγνωση</c:v>
                </c:pt>
              </c:strCache>
            </c:strRef>
          </c:tx>
          <c:spPr>
            <a:ln w="190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xVal>
            <c:numRef>
              <c:f>'Ταχύτητα ανέμου'!$M$3:$M$138</c:f>
              <c:numCache>
                <c:formatCode>d/m/yy\ h:mm;@</c:formatCode>
                <c:ptCount val="136"/>
                <c:pt idx="0">
                  <c:v>38336</c:v>
                </c:pt>
                <c:pt idx="1">
                  <c:v>38336.124999999993</c:v>
                </c:pt>
                <c:pt idx="2">
                  <c:v>38336.25</c:v>
                </c:pt>
                <c:pt idx="3">
                  <c:v>38336.375</c:v>
                </c:pt>
                <c:pt idx="4">
                  <c:v>38336.5</c:v>
                </c:pt>
                <c:pt idx="5">
                  <c:v>38336.624999999993</c:v>
                </c:pt>
                <c:pt idx="6">
                  <c:v>38336.75</c:v>
                </c:pt>
                <c:pt idx="7">
                  <c:v>38336.875</c:v>
                </c:pt>
                <c:pt idx="8">
                  <c:v>38337</c:v>
                </c:pt>
                <c:pt idx="9">
                  <c:v>38337.124999999993</c:v>
                </c:pt>
                <c:pt idx="10">
                  <c:v>38337.25</c:v>
                </c:pt>
                <c:pt idx="11">
                  <c:v>38337.375</c:v>
                </c:pt>
                <c:pt idx="12">
                  <c:v>38337.5</c:v>
                </c:pt>
                <c:pt idx="13">
                  <c:v>38337.624999999993</c:v>
                </c:pt>
                <c:pt idx="14">
                  <c:v>38337.75</c:v>
                </c:pt>
                <c:pt idx="15">
                  <c:v>38337.875</c:v>
                </c:pt>
                <c:pt idx="16">
                  <c:v>38338</c:v>
                </c:pt>
                <c:pt idx="17">
                  <c:v>38338.124999999993</c:v>
                </c:pt>
                <c:pt idx="18">
                  <c:v>38338.25</c:v>
                </c:pt>
                <c:pt idx="19">
                  <c:v>38338.375</c:v>
                </c:pt>
                <c:pt idx="20">
                  <c:v>38338.5</c:v>
                </c:pt>
                <c:pt idx="21">
                  <c:v>38338.624999999993</c:v>
                </c:pt>
                <c:pt idx="22">
                  <c:v>38338.75</c:v>
                </c:pt>
                <c:pt idx="23">
                  <c:v>38338.875</c:v>
                </c:pt>
                <c:pt idx="24">
                  <c:v>38339</c:v>
                </c:pt>
                <c:pt idx="25">
                  <c:v>38339.124999999993</c:v>
                </c:pt>
                <c:pt idx="26">
                  <c:v>38339.25</c:v>
                </c:pt>
                <c:pt idx="27">
                  <c:v>38339.375</c:v>
                </c:pt>
                <c:pt idx="28">
                  <c:v>38339.5</c:v>
                </c:pt>
                <c:pt idx="29">
                  <c:v>38339.624999999993</c:v>
                </c:pt>
                <c:pt idx="30">
                  <c:v>38339.75</c:v>
                </c:pt>
                <c:pt idx="31">
                  <c:v>38339.875</c:v>
                </c:pt>
                <c:pt idx="32">
                  <c:v>38340</c:v>
                </c:pt>
                <c:pt idx="33">
                  <c:v>38340.124999999993</c:v>
                </c:pt>
                <c:pt idx="34">
                  <c:v>38340.25</c:v>
                </c:pt>
                <c:pt idx="35">
                  <c:v>38340.375</c:v>
                </c:pt>
                <c:pt idx="36">
                  <c:v>38340.5</c:v>
                </c:pt>
                <c:pt idx="37">
                  <c:v>38340.624999999993</c:v>
                </c:pt>
                <c:pt idx="38">
                  <c:v>38340.75</c:v>
                </c:pt>
                <c:pt idx="39">
                  <c:v>38340.875</c:v>
                </c:pt>
                <c:pt idx="40">
                  <c:v>38341</c:v>
                </c:pt>
                <c:pt idx="41">
                  <c:v>38341.124999999993</c:v>
                </c:pt>
                <c:pt idx="42">
                  <c:v>38341.25</c:v>
                </c:pt>
                <c:pt idx="43">
                  <c:v>38341.375</c:v>
                </c:pt>
                <c:pt idx="44">
                  <c:v>38341.5</c:v>
                </c:pt>
                <c:pt idx="45">
                  <c:v>38341.624999999993</c:v>
                </c:pt>
                <c:pt idx="46">
                  <c:v>38341.75</c:v>
                </c:pt>
                <c:pt idx="47">
                  <c:v>38341.875</c:v>
                </c:pt>
                <c:pt idx="48">
                  <c:v>38342</c:v>
                </c:pt>
                <c:pt idx="49">
                  <c:v>38342.124999999993</c:v>
                </c:pt>
                <c:pt idx="50">
                  <c:v>38342.25</c:v>
                </c:pt>
                <c:pt idx="51">
                  <c:v>38342.375</c:v>
                </c:pt>
                <c:pt idx="52">
                  <c:v>38342.5</c:v>
                </c:pt>
                <c:pt idx="53">
                  <c:v>38342.624999999993</c:v>
                </c:pt>
                <c:pt idx="54">
                  <c:v>38342.75</c:v>
                </c:pt>
                <c:pt idx="55">
                  <c:v>38342.875</c:v>
                </c:pt>
                <c:pt idx="56">
                  <c:v>38343</c:v>
                </c:pt>
                <c:pt idx="57">
                  <c:v>38343.124999999993</c:v>
                </c:pt>
                <c:pt idx="58">
                  <c:v>38343.25</c:v>
                </c:pt>
                <c:pt idx="59">
                  <c:v>38343.375</c:v>
                </c:pt>
                <c:pt idx="60">
                  <c:v>38343.5</c:v>
                </c:pt>
                <c:pt idx="61">
                  <c:v>38343.624999999993</c:v>
                </c:pt>
                <c:pt idx="62">
                  <c:v>38343.75</c:v>
                </c:pt>
                <c:pt idx="63">
                  <c:v>38343.875</c:v>
                </c:pt>
                <c:pt idx="64">
                  <c:v>38344</c:v>
                </c:pt>
                <c:pt idx="65">
                  <c:v>38344.124999999993</c:v>
                </c:pt>
                <c:pt idx="66">
                  <c:v>38344.25</c:v>
                </c:pt>
                <c:pt idx="67">
                  <c:v>38344.375</c:v>
                </c:pt>
                <c:pt idx="68">
                  <c:v>38344.5</c:v>
                </c:pt>
                <c:pt idx="69">
                  <c:v>38344.624999999993</c:v>
                </c:pt>
                <c:pt idx="70">
                  <c:v>38344.75</c:v>
                </c:pt>
                <c:pt idx="71">
                  <c:v>38344.875</c:v>
                </c:pt>
                <c:pt idx="72">
                  <c:v>38345</c:v>
                </c:pt>
                <c:pt idx="73">
                  <c:v>38345.124999999993</c:v>
                </c:pt>
                <c:pt idx="74">
                  <c:v>38345.25</c:v>
                </c:pt>
                <c:pt idx="75">
                  <c:v>38345.375</c:v>
                </c:pt>
                <c:pt idx="76">
                  <c:v>38345.5</c:v>
                </c:pt>
                <c:pt idx="77">
                  <c:v>38345.624999999993</c:v>
                </c:pt>
                <c:pt idx="78">
                  <c:v>38345.75</c:v>
                </c:pt>
                <c:pt idx="79">
                  <c:v>38345.875</c:v>
                </c:pt>
                <c:pt idx="80">
                  <c:v>38346</c:v>
                </c:pt>
                <c:pt idx="81">
                  <c:v>38346.124999999993</c:v>
                </c:pt>
                <c:pt idx="82">
                  <c:v>38346.25</c:v>
                </c:pt>
                <c:pt idx="83">
                  <c:v>38346.375</c:v>
                </c:pt>
                <c:pt idx="84">
                  <c:v>38346.5</c:v>
                </c:pt>
                <c:pt idx="85">
                  <c:v>38346.624999999993</c:v>
                </c:pt>
                <c:pt idx="86">
                  <c:v>38346.75</c:v>
                </c:pt>
                <c:pt idx="87">
                  <c:v>38346.875</c:v>
                </c:pt>
                <c:pt idx="88">
                  <c:v>38347</c:v>
                </c:pt>
                <c:pt idx="89">
                  <c:v>38347.124999999993</c:v>
                </c:pt>
                <c:pt idx="90">
                  <c:v>38347.25</c:v>
                </c:pt>
                <c:pt idx="91">
                  <c:v>38347.375</c:v>
                </c:pt>
                <c:pt idx="92">
                  <c:v>38347.5</c:v>
                </c:pt>
                <c:pt idx="93">
                  <c:v>38347.624999999993</c:v>
                </c:pt>
                <c:pt idx="94">
                  <c:v>38347.75</c:v>
                </c:pt>
                <c:pt idx="95">
                  <c:v>38347.875</c:v>
                </c:pt>
                <c:pt idx="96">
                  <c:v>38348</c:v>
                </c:pt>
                <c:pt idx="97">
                  <c:v>38348.124999999993</c:v>
                </c:pt>
                <c:pt idx="98">
                  <c:v>38348.25</c:v>
                </c:pt>
                <c:pt idx="99">
                  <c:v>38348.375</c:v>
                </c:pt>
                <c:pt idx="100">
                  <c:v>38348.5</c:v>
                </c:pt>
                <c:pt idx="101">
                  <c:v>38348.624999999993</c:v>
                </c:pt>
                <c:pt idx="102">
                  <c:v>38348.75</c:v>
                </c:pt>
                <c:pt idx="103">
                  <c:v>38348.875</c:v>
                </c:pt>
                <c:pt idx="104">
                  <c:v>38349</c:v>
                </c:pt>
                <c:pt idx="105">
                  <c:v>38349.124999999993</c:v>
                </c:pt>
                <c:pt idx="106">
                  <c:v>38349.25</c:v>
                </c:pt>
                <c:pt idx="107">
                  <c:v>38349.375</c:v>
                </c:pt>
                <c:pt idx="108">
                  <c:v>38349.5</c:v>
                </c:pt>
                <c:pt idx="109">
                  <c:v>38349.624999999993</c:v>
                </c:pt>
                <c:pt idx="110">
                  <c:v>38349.75</c:v>
                </c:pt>
                <c:pt idx="111">
                  <c:v>38349.875</c:v>
                </c:pt>
                <c:pt idx="112">
                  <c:v>38350</c:v>
                </c:pt>
                <c:pt idx="113">
                  <c:v>38350.124999999993</c:v>
                </c:pt>
                <c:pt idx="114">
                  <c:v>38350.25</c:v>
                </c:pt>
                <c:pt idx="115">
                  <c:v>38350.375</c:v>
                </c:pt>
                <c:pt idx="116">
                  <c:v>38350.5</c:v>
                </c:pt>
                <c:pt idx="117">
                  <c:v>38350.624999999993</c:v>
                </c:pt>
                <c:pt idx="118">
                  <c:v>38350.75</c:v>
                </c:pt>
                <c:pt idx="119">
                  <c:v>38350.875</c:v>
                </c:pt>
                <c:pt idx="120">
                  <c:v>38351</c:v>
                </c:pt>
                <c:pt idx="121">
                  <c:v>38351.124999999993</c:v>
                </c:pt>
                <c:pt idx="122">
                  <c:v>38351.25</c:v>
                </c:pt>
                <c:pt idx="123">
                  <c:v>38351.375</c:v>
                </c:pt>
                <c:pt idx="124">
                  <c:v>38351.5</c:v>
                </c:pt>
                <c:pt idx="125">
                  <c:v>38351.624999999993</c:v>
                </c:pt>
                <c:pt idx="126">
                  <c:v>38351.75</c:v>
                </c:pt>
                <c:pt idx="127">
                  <c:v>38351.875</c:v>
                </c:pt>
                <c:pt idx="128">
                  <c:v>38352</c:v>
                </c:pt>
                <c:pt idx="129">
                  <c:v>38352.124999999993</c:v>
                </c:pt>
                <c:pt idx="130">
                  <c:v>38352.25</c:v>
                </c:pt>
                <c:pt idx="131">
                  <c:v>38352.375</c:v>
                </c:pt>
                <c:pt idx="132">
                  <c:v>38352.5</c:v>
                </c:pt>
                <c:pt idx="133">
                  <c:v>38352.624999999993</c:v>
                </c:pt>
                <c:pt idx="134">
                  <c:v>38352.75</c:v>
                </c:pt>
                <c:pt idx="135">
                  <c:v>38352.875</c:v>
                </c:pt>
              </c:numCache>
            </c:numRef>
          </c:xVal>
          <c:yVal>
            <c:numRef>
              <c:f>'Ταχύτητα ανέμου'!$P$3:$P$138</c:f>
              <c:numCache>
                <c:formatCode>General</c:formatCode>
                <c:ptCount val="136"/>
                <c:pt idx="0">
                  <c:v>-0.24451806389813069</c:v>
                </c:pt>
                <c:pt idx="1">
                  <c:v>-0.54786121344526262</c:v>
                </c:pt>
                <c:pt idx="2">
                  <c:v>-0.57690600446627793</c:v>
                </c:pt>
                <c:pt idx="3">
                  <c:v>-0.60312311385917372</c:v>
                </c:pt>
                <c:pt idx="4">
                  <c:v>-0.6617195558881882</c:v>
                </c:pt>
                <c:pt idx="5">
                  <c:v>-0.47291450161303156</c:v>
                </c:pt>
                <c:pt idx="6">
                  <c:v>-0.44927866552981016</c:v>
                </c:pt>
                <c:pt idx="7">
                  <c:v>-0.49711650091747706</c:v>
                </c:pt>
                <c:pt idx="8">
                  <c:v>-0.68157841270268604</c:v>
                </c:pt>
                <c:pt idx="9">
                  <c:v>-0.69735190316596452</c:v>
                </c:pt>
                <c:pt idx="10">
                  <c:v>-0.69297241073254612</c:v>
                </c:pt>
                <c:pt idx="11">
                  <c:v>-0.66419841523449541</c:v>
                </c:pt>
                <c:pt idx="12">
                  <c:v>-0.68888775189060758</c:v>
                </c:pt>
                <c:pt idx="13">
                  <c:v>-0.51602531249364181</c:v>
                </c:pt>
                <c:pt idx="14">
                  <c:v>-0.81665133592181283</c:v>
                </c:pt>
                <c:pt idx="15">
                  <c:v>-0.44530993727548562</c:v>
                </c:pt>
                <c:pt idx="16">
                  <c:v>-0.43391923201319149</c:v>
                </c:pt>
                <c:pt idx="17">
                  <c:v>-0.29413060180822931</c:v>
                </c:pt>
                <c:pt idx="18">
                  <c:v>-0.14794718042252264</c:v>
                </c:pt>
                <c:pt idx="19">
                  <c:v>-0.50266817305975597</c:v>
                </c:pt>
                <c:pt idx="20">
                  <c:v>-0.20992471513699054</c:v>
                </c:pt>
                <c:pt idx="21">
                  <c:v>-6.0738901351129956E-2</c:v>
                </c:pt>
                <c:pt idx="22">
                  <c:v>-0.15089529134959584</c:v>
                </c:pt>
                <c:pt idx="23">
                  <c:v>-0.11176606944256592</c:v>
                </c:pt>
                <c:pt idx="24">
                  <c:v>5.9078305845824013E-2</c:v>
                </c:pt>
                <c:pt idx="25">
                  <c:v>0.2166800318164962</c:v>
                </c:pt>
                <c:pt idx="26">
                  <c:v>0.35262051872404665</c:v>
                </c:pt>
                <c:pt idx="27">
                  <c:v>0.37797147150539467</c:v>
                </c:pt>
                <c:pt idx="28">
                  <c:v>0.16335178392751237</c:v>
                </c:pt>
                <c:pt idx="29">
                  <c:v>0.12461927089743506</c:v>
                </c:pt>
                <c:pt idx="30">
                  <c:v>0.24621367233442698</c:v>
                </c:pt>
                <c:pt idx="31">
                  <c:v>0.39435446226292603</c:v>
                </c:pt>
                <c:pt idx="32">
                  <c:v>-4.0831377523272462E-2</c:v>
                </c:pt>
                <c:pt idx="33">
                  <c:v>0.21556557034153478</c:v>
                </c:pt>
                <c:pt idx="34">
                  <c:v>0.12274594750608421</c:v>
                </c:pt>
                <c:pt idx="35">
                  <c:v>0.3267377539964838</c:v>
                </c:pt>
                <c:pt idx="36">
                  <c:v>-0.28740458985741163</c:v>
                </c:pt>
                <c:pt idx="37">
                  <c:v>-0.52431890389073965</c:v>
                </c:pt>
                <c:pt idx="38">
                  <c:v>-0.72136209276845242</c:v>
                </c:pt>
                <c:pt idx="39">
                  <c:v>-0.47067897147325033</c:v>
                </c:pt>
                <c:pt idx="40">
                  <c:v>-0.62604940430280143</c:v>
                </c:pt>
                <c:pt idx="41">
                  <c:v>-0.65345469747619944</c:v>
                </c:pt>
                <c:pt idx="42">
                  <c:v>-0.72073857729780044</c:v>
                </c:pt>
                <c:pt idx="43">
                  <c:v>-0.71208240547919288</c:v>
                </c:pt>
                <c:pt idx="44">
                  <c:v>-0.71336021952849804</c:v>
                </c:pt>
                <c:pt idx="45">
                  <c:v>-0.76538847611500871</c:v>
                </c:pt>
                <c:pt idx="46">
                  <c:v>-0.87095195096013456</c:v>
                </c:pt>
                <c:pt idx="47">
                  <c:v>-0.87649117754878902</c:v>
                </c:pt>
                <c:pt idx="48">
                  <c:v>-0.80409075467644964</c:v>
                </c:pt>
                <c:pt idx="49">
                  <c:v>-0.75911447964617729</c:v>
                </c:pt>
                <c:pt idx="50">
                  <c:v>-0.7389501900274662</c:v>
                </c:pt>
                <c:pt idx="51">
                  <c:v>-0.71981282067938412</c:v>
                </c:pt>
                <c:pt idx="52">
                  <c:v>-0.73443760766111232</c:v>
                </c:pt>
                <c:pt idx="53">
                  <c:v>-0.53408958782864557</c:v>
                </c:pt>
                <c:pt idx="54">
                  <c:v>-0.54628979932749433</c:v>
                </c:pt>
                <c:pt idx="55">
                  <c:v>-0.77270146852940247</c:v>
                </c:pt>
                <c:pt idx="56">
                  <c:v>-0.48921630610738182</c:v>
                </c:pt>
                <c:pt idx="57">
                  <c:v>-0.1976914470351018</c:v>
                </c:pt>
                <c:pt idx="58">
                  <c:v>-2.9836533163126789E-3</c:v>
                </c:pt>
                <c:pt idx="59">
                  <c:v>1.4508436037949778E-2</c:v>
                </c:pt>
                <c:pt idx="60">
                  <c:v>-0.20775865865398777</c:v>
                </c:pt>
                <c:pt idx="61">
                  <c:v>-0.19082981954720171</c:v>
                </c:pt>
                <c:pt idx="62">
                  <c:v>-0.35155666400562602</c:v>
                </c:pt>
                <c:pt idx="63">
                  <c:v>-0.28108901620713539</c:v>
                </c:pt>
                <c:pt idx="64">
                  <c:v>-0.54644188735840671</c:v>
                </c:pt>
                <c:pt idx="65">
                  <c:v>-0.34116606931836957</c:v>
                </c:pt>
                <c:pt idx="66">
                  <c:v>-0.16517562601148947</c:v>
                </c:pt>
                <c:pt idx="67">
                  <c:v>-0.50545199657580564</c:v>
                </c:pt>
                <c:pt idx="68">
                  <c:v>-0.60836153108675539</c:v>
                </c:pt>
                <c:pt idx="69">
                  <c:v>-0.72948112980152358</c:v>
                </c:pt>
                <c:pt idx="70">
                  <c:v>-0.58214925559533404</c:v>
                </c:pt>
                <c:pt idx="71">
                  <c:v>-0.75631762004294356</c:v>
                </c:pt>
                <c:pt idx="72">
                  <c:v>-0.47588237262029354</c:v>
                </c:pt>
                <c:pt idx="73">
                  <c:v>-0.68574907303900934</c:v>
                </c:pt>
                <c:pt idx="74">
                  <c:v>-0.42327343071965895</c:v>
                </c:pt>
                <c:pt idx="75">
                  <c:v>-0.34991186238383504</c:v>
                </c:pt>
                <c:pt idx="76">
                  <c:v>-0.59825803729870064</c:v>
                </c:pt>
                <c:pt idx="77">
                  <c:v>-0.39368172745083713</c:v>
                </c:pt>
                <c:pt idx="78">
                  <c:v>-0.33990895371252744</c:v>
                </c:pt>
                <c:pt idx="79">
                  <c:v>-0.2828600762692029</c:v>
                </c:pt>
                <c:pt idx="80">
                  <c:v>-0.56267741212339739</c:v>
                </c:pt>
                <c:pt idx="81">
                  <c:v>-0.629912202495017</c:v>
                </c:pt>
                <c:pt idx="82">
                  <c:v>-0.66512901460199381</c:v>
                </c:pt>
                <c:pt idx="83">
                  <c:v>-0.63612960144492814</c:v>
                </c:pt>
                <c:pt idx="84">
                  <c:v>-0.66239723174818255</c:v>
                </c:pt>
                <c:pt idx="85">
                  <c:v>-0.75942083447141751</c:v>
                </c:pt>
                <c:pt idx="86">
                  <c:v>-0.88291216279317797</c:v>
                </c:pt>
                <c:pt idx="87">
                  <c:v>-0.88686199723572368</c:v>
                </c:pt>
                <c:pt idx="88">
                  <c:v>-0.81607643927334461</c:v>
                </c:pt>
                <c:pt idx="89">
                  <c:v>-0.50513710182428839</c:v>
                </c:pt>
                <c:pt idx="90">
                  <c:v>-0.68213628320725506</c:v>
                </c:pt>
                <c:pt idx="91">
                  <c:v>-0.29723695018395058</c:v>
                </c:pt>
                <c:pt idx="92">
                  <c:v>-3.1998314016004482E-2</c:v>
                </c:pt>
                <c:pt idx="93">
                  <c:v>-0.19058720861955658</c:v>
                </c:pt>
                <c:pt idx="94">
                  <c:v>-0.11393640127504416</c:v>
                </c:pt>
                <c:pt idx="95">
                  <c:v>-0.1945937559577553</c:v>
                </c:pt>
                <c:pt idx="96">
                  <c:v>-8.1987468568789371E-2</c:v>
                </c:pt>
                <c:pt idx="97">
                  <c:v>3.7430033546232609E-2</c:v>
                </c:pt>
                <c:pt idx="98">
                  <c:v>0.15107954233996071</c:v>
                </c:pt>
                <c:pt idx="99">
                  <c:v>0.22697074420319968</c:v>
                </c:pt>
                <c:pt idx="100">
                  <c:v>0.10769952655256326</c:v>
                </c:pt>
                <c:pt idx="101">
                  <c:v>0.14244560811720397</c:v>
                </c:pt>
                <c:pt idx="102">
                  <c:v>0.15308748674779996</c:v>
                </c:pt>
                <c:pt idx="103">
                  <c:v>-6.1013190020988532E-2</c:v>
                </c:pt>
                <c:pt idx="104">
                  <c:v>-0.10882134889238551</c:v>
                </c:pt>
                <c:pt idx="105">
                  <c:v>-0.17467953783365112</c:v>
                </c:pt>
                <c:pt idx="106">
                  <c:v>-0.46746557987876952</c:v>
                </c:pt>
                <c:pt idx="107">
                  <c:v>-0.19542750781543591</c:v>
                </c:pt>
                <c:pt idx="108">
                  <c:v>-5.8738453372843523E-2</c:v>
                </c:pt>
                <c:pt idx="109">
                  <c:v>-0.15976310871358756</c:v>
                </c:pt>
                <c:pt idx="110">
                  <c:v>-0.10371407638717701</c:v>
                </c:pt>
                <c:pt idx="111">
                  <c:v>-0.34344141026083608</c:v>
                </c:pt>
                <c:pt idx="112">
                  <c:v>-0.32408149515505119</c:v>
                </c:pt>
                <c:pt idx="113">
                  <c:v>-0.18045338486334536</c:v>
                </c:pt>
                <c:pt idx="114">
                  <c:v>1.2122538190654801E-3</c:v>
                </c:pt>
                <c:pt idx="115">
                  <c:v>0.10507052452944328</c:v>
                </c:pt>
                <c:pt idx="116">
                  <c:v>0.18356159277812256</c:v>
                </c:pt>
                <c:pt idx="117">
                  <c:v>0.1935491541579398</c:v>
                </c:pt>
                <c:pt idx="118">
                  <c:v>-0.23327953502639562</c:v>
                </c:pt>
                <c:pt idx="119">
                  <c:v>-0.56369942083933766</c:v>
                </c:pt>
                <c:pt idx="120">
                  <c:v>-0.58810297702771896</c:v>
                </c:pt>
                <c:pt idx="121">
                  <c:v>-0.5959916341113306</c:v>
                </c:pt>
                <c:pt idx="122">
                  <c:v>-0.59828991223439365</c:v>
                </c:pt>
                <c:pt idx="123">
                  <c:v>-0.62337183138525665</c:v>
                </c:pt>
                <c:pt idx="124">
                  <c:v>-0.71005143929378156</c:v>
                </c:pt>
                <c:pt idx="125">
                  <c:v>-0.14785008652538609</c:v>
                </c:pt>
                <c:pt idx="126">
                  <c:v>-0.71097397873837065</c:v>
                </c:pt>
                <c:pt idx="127">
                  <c:v>-0.17767051173328427</c:v>
                </c:pt>
                <c:pt idx="128">
                  <c:v>-0.21676712029329748</c:v>
                </c:pt>
                <c:pt idx="129">
                  <c:v>-0.20735844949456941</c:v>
                </c:pt>
                <c:pt idx="130">
                  <c:v>-0.48629244623303475</c:v>
                </c:pt>
                <c:pt idx="131">
                  <c:v>-0.15046150927107993</c:v>
                </c:pt>
                <c:pt idx="132">
                  <c:v>-0.27419126076720218</c:v>
                </c:pt>
                <c:pt idx="133">
                  <c:v>-3.2291434153417495E-2</c:v>
                </c:pt>
                <c:pt idx="134">
                  <c:v>-7.5029731897942611E-2</c:v>
                </c:pt>
                <c:pt idx="135">
                  <c:v>-0.322085424966495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502C-40F9-8CCC-4CDA04848AD2}"/>
            </c:ext>
          </c:extLst>
        </c:ser>
        <c:ser>
          <c:idx val="4"/>
          <c:order val="4"/>
          <c:tx>
            <c:strRef>
              <c:f>'Ταχύτητα ανέμου'!$R$2</c:f>
              <c:strCache>
                <c:ptCount val="1"/>
                <c:pt idx="0">
                  <c:v>12ωρη πρόγνωση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xVal>
            <c:numRef>
              <c:f>'Ταχύτητα ανέμου'!$M$3:$M$138</c:f>
              <c:numCache>
                <c:formatCode>d/m/yy\ h:mm;@</c:formatCode>
                <c:ptCount val="136"/>
                <c:pt idx="0">
                  <c:v>38336</c:v>
                </c:pt>
                <c:pt idx="1">
                  <c:v>38336.124999999993</c:v>
                </c:pt>
                <c:pt idx="2">
                  <c:v>38336.25</c:v>
                </c:pt>
                <c:pt idx="3">
                  <c:v>38336.375</c:v>
                </c:pt>
                <c:pt idx="4">
                  <c:v>38336.5</c:v>
                </c:pt>
                <c:pt idx="5">
                  <c:v>38336.624999999993</c:v>
                </c:pt>
                <c:pt idx="6">
                  <c:v>38336.75</c:v>
                </c:pt>
                <c:pt idx="7">
                  <c:v>38336.875</c:v>
                </c:pt>
                <c:pt idx="8">
                  <c:v>38337</c:v>
                </c:pt>
                <c:pt idx="9">
                  <c:v>38337.124999999993</c:v>
                </c:pt>
                <c:pt idx="10">
                  <c:v>38337.25</c:v>
                </c:pt>
                <c:pt idx="11">
                  <c:v>38337.375</c:v>
                </c:pt>
                <c:pt idx="12">
                  <c:v>38337.5</c:v>
                </c:pt>
                <c:pt idx="13">
                  <c:v>38337.624999999993</c:v>
                </c:pt>
                <c:pt idx="14">
                  <c:v>38337.75</c:v>
                </c:pt>
                <c:pt idx="15">
                  <c:v>38337.875</c:v>
                </c:pt>
                <c:pt idx="16">
                  <c:v>38338</c:v>
                </c:pt>
                <c:pt idx="17">
                  <c:v>38338.124999999993</c:v>
                </c:pt>
                <c:pt idx="18">
                  <c:v>38338.25</c:v>
                </c:pt>
                <c:pt idx="19">
                  <c:v>38338.375</c:v>
                </c:pt>
                <c:pt idx="20">
                  <c:v>38338.5</c:v>
                </c:pt>
                <c:pt idx="21">
                  <c:v>38338.624999999993</c:v>
                </c:pt>
                <c:pt idx="22">
                  <c:v>38338.75</c:v>
                </c:pt>
                <c:pt idx="23">
                  <c:v>38338.875</c:v>
                </c:pt>
                <c:pt idx="24">
                  <c:v>38339</c:v>
                </c:pt>
                <c:pt idx="25">
                  <c:v>38339.124999999993</c:v>
                </c:pt>
                <c:pt idx="26">
                  <c:v>38339.25</c:v>
                </c:pt>
                <c:pt idx="27">
                  <c:v>38339.375</c:v>
                </c:pt>
                <c:pt idx="28">
                  <c:v>38339.5</c:v>
                </c:pt>
                <c:pt idx="29">
                  <c:v>38339.624999999993</c:v>
                </c:pt>
                <c:pt idx="30">
                  <c:v>38339.75</c:v>
                </c:pt>
                <c:pt idx="31">
                  <c:v>38339.875</c:v>
                </c:pt>
                <c:pt idx="32">
                  <c:v>38340</c:v>
                </c:pt>
                <c:pt idx="33">
                  <c:v>38340.124999999993</c:v>
                </c:pt>
                <c:pt idx="34">
                  <c:v>38340.25</c:v>
                </c:pt>
                <c:pt idx="35">
                  <c:v>38340.375</c:v>
                </c:pt>
                <c:pt idx="36">
                  <c:v>38340.5</c:v>
                </c:pt>
                <c:pt idx="37">
                  <c:v>38340.624999999993</c:v>
                </c:pt>
                <c:pt idx="38">
                  <c:v>38340.75</c:v>
                </c:pt>
                <c:pt idx="39">
                  <c:v>38340.875</c:v>
                </c:pt>
                <c:pt idx="40">
                  <c:v>38341</c:v>
                </c:pt>
                <c:pt idx="41">
                  <c:v>38341.124999999993</c:v>
                </c:pt>
                <c:pt idx="42">
                  <c:v>38341.25</c:v>
                </c:pt>
                <c:pt idx="43">
                  <c:v>38341.375</c:v>
                </c:pt>
                <c:pt idx="44">
                  <c:v>38341.5</c:v>
                </c:pt>
                <c:pt idx="45">
                  <c:v>38341.624999999993</c:v>
                </c:pt>
                <c:pt idx="46">
                  <c:v>38341.75</c:v>
                </c:pt>
                <c:pt idx="47">
                  <c:v>38341.875</c:v>
                </c:pt>
                <c:pt idx="48">
                  <c:v>38342</c:v>
                </c:pt>
                <c:pt idx="49">
                  <c:v>38342.124999999993</c:v>
                </c:pt>
                <c:pt idx="50">
                  <c:v>38342.25</c:v>
                </c:pt>
                <c:pt idx="51">
                  <c:v>38342.375</c:v>
                </c:pt>
                <c:pt idx="52">
                  <c:v>38342.5</c:v>
                </c:pt>
                <c:pt idx="53">
                  <c:v>38342.624999999993</c:v>
                </c:pt>
                <c:pt idx="54">
                  <c:v>38342.75</c:v>
                </c:pt>
                <c:pt idx="55">
                  <c:v>38342.875</c:v>
                </c:pt>
                <c:pt idx="56">
                  <c:v>38343</c:v>
                </c:pt>
                <c:pt idx="57">
                  <c:v>38343.124999999993</c:v>
                </c:pt>
                <c:pt idx="58">
                  <c:v>38343.25</c:v>
                </c:pt>
                <c:pt idx="59">
                  <c:v>38343.375</c:v>
                </c:pt>
                <c:pt idx="60">
                  <c:v>38343.5</c:v>
                </c:pt>
                <c:pt idx="61">
                  <c:v>38343.624999999993</c:v>
                </c:pt>
                <c:pt idx="62">
                  <c:v>38343.75</c:v>
                </c:pt>
                <c:pt idx="63">
                  <c:v>38343.875</c:v>
                </c:pt>
                <c:pt idx="64">
                  <c:v>38344</c:v>
                </c:pt>
                <c:pt idx="65">
                  <c:v>38344.124999999993</c:v>
                </c:pt>
                <c:pt idx="66">
                  <c:v>38344.25</c:v>
                </c:pt>
                <c:pt idx="67">
                  <c:v>38344.375</c:v>
                </c:pt>
                <c:pt idx="68">
                  <c:v>38344.5</c:v>
                </c:pt>
                <c:pt idx="69">
                  <c:v>38344.624999999993</c:v>
                </c:pt>
                <c:pt idx="70">
                  <c:v>38344.75</c:v>
                </c:pt>
                <c:pt idx="71">
                  <c:v>38344.875</c:v>
                </c:pt>
                <c:pt idx="72">
                  <c:v>38345</c:v>
                </c:pt>
                <c:pt idx="73">
                  <c:v>38345.124999999993</c:v>
                </c:pt>
                <c:pt idx="74">
                  <c:v>38345.25</c:v>
                </c:pt>
                <c:pt idx="75">
                  <c:v>38345.375</c:v>
                </c:pt>
                <c:pt idx="76">
                  <c:v>38345.5</c:v>
                </c:pt>
                <c:pt idx="77">
                  <c:v>38345.624999999993</c:v>
                </c:pt>
                <c:pt idx="78">
                  <c:v>38345.75</c:v>
                </c:pt>
                <c:pt idx="79">
                  <c:v>38345.875</c:v>
                </c:pt>
                <c:pt idx="80">
                  <c:v>38346</c:v>
                </c:pt>
                <c:pt idx="81">
                  <c:v>38346.124999999993</c:v>
                </c:pt>
                <c:pt idx="82">
                  <c:v>38346.25</c:v>
                </c:pt>
                <c:pt idx="83">
                  <c:v>38346.375</c:v>
                </c:pt>
                <c:pt idx="84">
                  <c:v>38346.5</c:v>
                </c:pt>
                <c:pt idx="85">
                  <c:v>38346.624999999993</c:v>
                </c:pt>
                <c:pt idx="86">
                  <c:v>38346.75</c:v>
                </c:pt>
                <c:pt idx="87">
                  <c:v>38346.875</c:v>
                </c:pt>
                <c:pt idx="88">
                  <c:v>38347</c:v>
                </c:pt>
                <c:pt idx="89">
                  <c:v>38347.124999999993</c:v>
                </c:pt>
                <c:pt idx="90">
                  <c:v>38347.25</c:v>
                </c:pt>
                <c:pt idx="91">
                  <c:v>38347.375</c:v>
                </c:pt>
                <c:pt idx="92">
                  <c:v>38347.5</c:v>
                </c:pt>
                <c:pt idx="93">
                  <c:v>38347.624999999993</c:v>
                </c:pt>
                <c:pt idx="94">
                  <c:v>38347.75</c:v>
                </c:pt>
                <c:pt idx="95">
                  <c:v>38347.875</c:v>
                </c:pt>
                <c:pt idx="96">
                  <c:v>38348</c:v>
                </c:pt>
                <c:pt idx="97">
                  <c:v>38348.124999999993</c:v>
                </c:pt>
                <c:pt idx="98">
                  <c:v>38348.25</c:v>
                </c:pt>
                <c:pt idx="99">
                  <c:v>38348.375</c:v>
                </c:pt>
                <c:pt idx="100">
                  <c:v>38348.5</c:v>
                </c:pt>
                <c:pt idx="101">
                  <c:v>38348.624999999993</c:v>
                </c:pt>
                <c:pt idx="102">
                  <c:v>38348.75</c:v>
                </c:pt>
                <c:pt idx="103">
                  <c:v>38348.875</c:v>
                </c:pt>
                <c:pt idx="104">
                  <c:v>38349</c:v>
                </c:pt>
                <c:pt idx="105">
                  <c:v>38349.124999999993</c:v>
                </c:pt>
                <c:pt idx="106">
                  <c:v>38349.25</c:v>
                </c:pt>
                <c:pt idx="107">
                  <c:v>38349.375</c:v>
                </c:pt>
                <c:pt idx="108">
                  <c:v>38349.5</c:v>
                </c:pt>
                <c:pt idx="109">
                  <c:v>38349.624999999993</c:v>
                </c:pt>
                <c:pt idx="110">
                  <c:v>38349.75</c:v>
                </c:pt>
                <c:pt idx="111">
                  <c:v>38349.875</c:v>
                </c:pt>
                <c:pt idx="112">
                  <c:v>38350</c:v>
                </c:pt>
                <c:pt idx="113">
                  <c:v>38350.124999999993</c:v>
                </c:pt>
                <c:pt idx="114">
                  <c:v>38350.25</c:v>
                </c:pt>
                <c:pt idx="115">
                  <c:v>38350.375</c:v>
                </c:pt>
                <c:pt idx="116">
                  <c:v>38350.5</c:v>
                </c:pt>
                <c:pt idx="117">
                  <c:v>38350.624999999993</c:v>
                </c:pt>
                <c:pt idx="118">
                  <c:v>38350.75</c:v>
                </c:pt>
                <c:pt idx="119">
                  <c:v>38350.875</c:v>
                </c:pt>
                <c:pt idx="120">
                  <c:v>38351</c:v>
                </c:pt>
                <c:pt idx="121">
                  <c:v>38351.124999999993</c:v>
                </c:pt>
                <c:pt idx="122">
                  <c:v>38351.25</c:v>
                </c:pt>
                <c:pt idx="123">
                  <c:v>38351.375</c:v>
                </c:pt>
                <c:pt idx="124">
                  <c:v>38351.5</c:v>
                </c:pt>
                <c:pt idx="125">
                  <c:v>38351.624999999993</c:v>
                </c:pt>
                <c:pt idx="126">
                  <c:v>38351.75</c:v>
                </c:pt>
                <c:pt idx="127">
                  <c:v>38351.875</c:v>
                </c:pt>
                <c:pt idx="128">
                  <c:v>38352</c:v>
                </c:pt>
                <c:pt idx="129">
                  <c:v>38352.124999999993</c:v>
                </c:pt>
                <c:pt idx="130">
                  <c:v>38352.25</c:v>
                </c:pt>
                <c:pt idx="131">
                  <c:v>38352.375</c:v>
                </c:pt>
                <c:pt idx="132">
                  <c:v>38352.5</c:v>
                </c:pt>
                <c:pt idx="133">
                  <c:v>38352.624999999993</c:v>
                </c:pt>
                <c:pt idx="134">
                  <c:v>38352.75</c:v>
                </c:pt>
                <c:pt idx="135">
                  <c:v>38352.875</c:v>
                </c:pt>
              </c:numCache>
            </c:numRef>
          </c:xVal>
          <c:yVal>
            <c:numRef>
              <c:f>'Ταχύτητα ανέμου'!$R$3:$R$138</c:f>
              <c:numCache>
                <c:formatCode>General</c:formatCode>
                <c:ptCount val="136"/>
                <c:pt idx="0">
                  <c:v>-0.31798796610287899</c:v>
                </c:pt>
                <c:pt idx="1">
                  <c:v>-0.28515607825592931</c:v>
                </c:pt>
                <c:pt idx="2">
                  <c:v>-0.15554423664290479</c:v>
                </c:pt>
                <c:pt idx="3">
                  <c:v>-0.37441046485960344</c:v>
                </c:pt>
                <c:pt idx="4">
                  <c:v>-0.44746159735747054</c:v>
                </c:pt>
                <c:pt idx="5">
                  <c:v>-0.46203202489165185</c:v>
                </c:pt>
                <c:pt idx="6">
                  <c:v>-0.50456743979683083</c:v>
                </c:pt>
                <c:pt idx="7">
                  <c:v>-0.42645220739121914</c:v>
                </c:pt>
                <c:pt idx="8">
                  <c:v>-0.39548892146537512</c:v>
                </c:pt>
                <c:pt idx="9">
                  <c:v>-0.39829888181638773</c:v>
                </c:pt>
                <c:pt idx="10">
                  <c:v>-0.5137894822003547</c:v>
                </c:pt>
                <c:pt idx="11">
                  <c:v>-0.50704757309676496</c:v>
                </c:pt>
                <c:pt idx="12">
                  <c:v>-0.51913167755234069</c:v>
                </c:pt>
                <c:pt idx="13">
                  <c:v>-0.53345754699559333</c:v>
                </c:pt>
                <c:pt idx="14">
                  <c:v>-0.56469581414712966</c:v>
                </c:pt>
                <c:pt idx="15">
                  <c:v>-0.43078094577604548</c:v>
                </c:pt>
                <c:pt idx="16">
                  <c:v>-0.62019531135141648</c:v>
                </c:pt>
                <c:pt idx="17">
                  <c:v>-0.37047964437301162</c:v>
                </c:pt>
                <c:pt idx="18">
                  <c:v>-0.33862414988882072</c:v>
                </c:pt>
                <c:pt idx="19">
                  <c:v>-0.23938460105691958</c:v>
                </c:pt>
                <c:pt idx="20">
                  <c:v>-0.15450041111255491</c:v>
                </c:pt>
                <c:pt idx="21">
                  <c:v>-0.34376644639340992</c:v>
                </c:pt>
                <c:pt idx="22">
                  <c:v>-0.14286122533673293</c:v>
                </c:pt>
                <c:pt idx="23">
                  <c:v>-4.8877713003015882E-2</c:v>
                </c:pt>
                <c:pt idx="24">
                  <c:v>-0.13033880215727478</c:v>
                </c:pt>
                <c:pt idx="25">
                  <c:v>-0.13457985059513289</c:v>
                </c:pt>
                <c:pt idx="26">
                  <c:v>4.9276512525484047E-2</c:v>
                </c:pt>
                <c:pt idx="27">
                  <c:v>0.17479068893381877</c:v>
                </c:pt>
                <c:pt idx="28">
                  <c:v>0.22959883844429779</c:v>
                </c:pt>
                <c:pt idx="29">
                  <c:v>0.27085088932368589</c:v>
                </c:pt>
                <c:pt idx="30">
                  <c:v>0.16488173016454769</c:v>
                </c:pt>
                <c:pt idx="31">
                  <c:v>0.13874890990794264</c:v>
                </c:pt>
                <c:pt idx="32">
                  <c:v>0.20385251356570869</c:v>
                </c:pt>
                <c:pt idx="33">
                  <c:v>0.27695017276042205</c:v>
                </c:pt>
                <c:pt idx="34">
                  <c:v>-4.8581339912035414E-2</c:v>
                </c:pt>
                <c:pt idx="35">
                  <c:v>0.13980945523686841</c:v>
                </c:pt>
                <c:pt idx="36">
                  <c:v>0.12078364598721997</c:v>
                </c:pt>
                <c:pt idx="37">
                  <c:v>0.2343232153875853</c:v>
                </c:pt>
                <c:pt idx="38">
                  <c:v>-0.22406622615998079</c:v>
                </c:pt>
                <c:pt idx="39">
                  <c:v>-0.34981573839050967</c:v>
                </c:pt>
                <c:pt idx="40">
                  <c:v>-0.47486122317897717</c:v>
                </c:pt>
                <c:pt idx="41">
                  <c:v>-0.37076009086900474</c:v>
                </c:pt>
                <c:pt idx="42">
                  <c:v>-0.56626571665880143</c:v>
                </c:pt>
                <c:pt idx="43">
                  <c:v>-0.57856199986513257</c:v>
                </c:pt>
                <c:pt idx="44">
                  <c:v>-0.55942242307875434</c:v>
                </c:pt>
                <c:pt idx="45">
                  <c:v>-0.5227694789992432</c:v>
                </c:pt>
                <c:pt idx="46">
                  <c:v>-0.5484847182718986</c:v>
                </c:pt>
                <c:pt idx="47">
                  <c:v>-0.58915288719191838</c:v>
                </c:pt>
                <c:pt idx="48">
                  <c:v>-0.64767011024690235</c:v>
                </c:pt>
                <c:pt idx="49">
                  <c:v>-0.65917728327088176</c:v>
                </c:pt>
                <c:pt idx="50">
                  <c:v>-0.62523703006107356</c:v>
                </c:pt>
                <c:pt idx="51">
                  <c:v>-0.60892778258280122</c:v>
                </c:pt>
                <c:pt idx="52">
                  <c:v>-0.59179043161461364</c:v>
                </c:pt>
                <c:pt idx="53">
                  <c:v>-0.55842927727700364</c:v>
                </c:pt>
                <c:pt idx="54">
                  <c:v>-0.55598676188647556</c:v>
                </c:pt>
                <c:pt idx="55">
                  <c:v>-0.41667919354040217</c:v>
                </c:pt>
                <c:pt idx="56">
                  <c:v>-0.41935208657119977</c:v>
                </c:pt>
                <c:pt idx="57">
                  <c:v>-0.57940500994724287</c:v>
                </c:pt>
                <c:pt idx="58">
                  <c:v>-0.38949217498184485</c:v>
                </c:pt>
                <c:pt idx="59">
                  <c:v>-0.17268319864381718</c:v>
                </c:pt>
                <c:pt idx="60">
                  <c:v>-6.1212493440462923E-2</c:v>
                </c:pt>
                <c:pt idx="61">
                  <c:v>-5.1048420524982228E-2</c:v>
                </c:pt>
                <c:pt idx="62">
                  <c:v>-0.11999878684636407</c:v>
                </c:pt>
                <c:pt idx="63">
                  <c:v>-7.4486831790305436E-2</c:v>
                </c:pt>
                <c:pt idx="64">
                  <c:v>-0.21613205684651721</c:v>
                </c:pt>
                <c:pt idx="65">
                  <c:v>-0.22451692255524014</c:v>
                </c:pt>
                <c:pt idx="66">
                  <c:v>-0.43619122388463688</c:v>
                </c:pt>
                <c:pt idx="67">
                  <c:v>-0.2970689302408448</c:v>
                </c:pt>
                <c:pt idx="68">
                  <c:v>-0.17795321129334871</c:v>
                </c:pt>
                <c:pt idx="69">
                  <c:v>-0.40789429126684423</c:v>
                </c:pt>
                <c:pt idx="70">
                  <c:v>-0.48085142838190587</c:v>
                </c:pt>
                <c:pt idx="71">
                  <c:v>-0.51069420728684511</c:v>
                </c:pt>
                <c:pt idx="72">
                  <c:v>-0.42078358472203831</c:v>
                </c:pt>
                <c:pt idx="73">
                  <c:v>-0.62187421197470005</c:v>
                </c:pt>
                <c:pt idx="74">
                  <c:v>-0.43506891098713302</c:v>
                </c:pt>
                <c:pt idx="75">
                  <c:v>-0.53183393705641979</c:v>
                </c:pt>
                <c:pt idx="76">
                  <c:v>-0.34490914683712776</c:v>
                </c:pt>
                <c:pt idx="77">
                  <c:v>-0.30029267486921485</c:v>
                </c:pt>
                <c:pt idx="78">
                  <c:v>-0.43856574221428785</c:v>
                </c:pt>
                <c:pt idx="79">
                  <c:v>-0.29795620338341144</c:v>
                </c:pt>
                <c:pt idx="80">
                  <c:v>-0.23452461674094038</c:v>
                </c:pt>
                <c:pt idx="81">
                  <c:v>-0.21618242081863931</c:v>
                </c:pt>
                <c:pt idx="82">
                  <c:v>-0.44966545714945838</c:v>
                </c:pt>
                <c:pt idx="83">
                  <c:v>-0.45811403771907538</c:v>
                </c:pt>
                <c:pt idx="84">
                  <c:v>-0.47528977287757324</c:v>
                </c:pt>
                <c:pt idx="85">
                  <c:v>-0.50043895473938949</c:v>
                </c:pt>
                <c:pt idx="86">
                  <c:v>-0.56099559427943713</c:v>
                </c:pt>
                <c:pt idx="87">
                  <c:v>-0.60667245888932175</c:v>
                </c:pt>
                <c:pt idx="88">
                  <c:v>-0.66178892194338801</c:v>
                </c:pt>
                <c:pt idx="89">
                  <c:v>-0.67823304000027884</c:v>
                </c:pt>
                <c:pt idx="90">
                  <c:v>-0.64608803602170828</c:v>
                </c:pt>
                <c:pt idx="91">
                  <c:v>-0.44342655818938592</c:v>
                </c:pt>
                <c:pt idx="92">
                  <c:v>-0.55678863899259745</c:v>
                </c:pt>
                <c:pt idx="93">
                  <c:v>-0.27682255566733832</c:v>
                </c:pt>
                <c:pt idx="94">
                  <c:v>-4.2756536759082329E-2</c:v>
                </c:pt>
                <c:pt idx="95">
                  <c:v>-0.12694501086530713</c:v>
                </c:pt>
                <c:pt idx="96">
                  <c:v>-9.4437766114234725E-2</c:v>
                </c:pt>
                <c:pt idx="97">
                  <c:v>-8.9728948233759834E-2</c:v>
                </c:pt>
                <c:pt idx="98">
                  <c:v>-2.0434738219663174E-2</c:v>
                </c:pt>
                <c:pt idx="99">
                  <c:v>-4.7175609345984915E-3</c:v>
                </c:pt>
                <c:pt idx="100">
                  <c:v>7.9104860536666294E-2</c:v>
                </c:pt>
                <c:pt idx="101">
                  <c:v>0.14838327894165415</c:v>
                </c:pt>
                <c:pt idx="102">
                  <c:v>8.5358634709091885E-2</c:v>
                </c:pt>
                <c:pt idx="103">
                  <c:v>0.12036963002004268</c:v>
                </c:pt>
                <c:pt idx="104">
                  <c:v>0.13614140822867787</c:v>
                </c:pt>
                <c:pt idx="105">
                  <c:v>-2.3813094677982889E-2</c:v>
                </c:pt>
                <c:pt idx="106">
                  <c:v>-8.8968576858118209E-2</c:v>
                </c:pt>
                <c:pt idx="107">
                  <c:v>-0.12991433337209093</c:v>
                </c:pt>
                <c:pt idx="108">
                  <c:v>-0.34557094430491248</c:v>
                </c:pt>
                <c:pt idx="109">
                  <c:v>-0.2000800893976892</c:v>
                </c:pt>
                <c:pt idx="110">
                  <c:v>-8.9239924339877708E-2</c:v>
                </c:pt>
                <c:pt idx="111">
                  <c:v>-0.15480010950099138</c:v>
                </c:pt>
                <c:pt idx="112">
                  <c:v>-0.12062871823756639</c:v>
                </c:pt>
                <c:pt idx="113">
                  <c:v>-0.21189360872113044</c:v>
                </c:pt>
                <c:pt idx="114">
                  <c:v>-0.19156592190466087</c:v>
                </c:pt>
                <c:pt idx="115">
                  <c:v>-0.14564039431576722</c:v>
                </c:pt>
                <c:pt idx="116">
                  <c:v>-3.5053173903115492E-2</c:v>
                </c:pt>
                <c:pt idx="117">
                  <c:v>2.6478501576572246E-2</c:v>
                </c:pt>
                <c:pt idx="118">
                  <c:v>0.11134973492787634</c:v>
                </c:pt>
                <c:pt idx="119">
                  <c:v>0.16680638918152962</c:v>
                </c:pt>
                <c:pt idx="120">
                  <c:v>-0.10768752112010532</c:v>
                </c:pt>
                <c:pt idx="121">
                  <c:v>-0.34978661377751558</c:v>
                </c:pt>
                <c:pt idx="122">
                  <c:v>-0.3934278424378444</c:v>
                </c:pt>
                <c:pt idx="123">
                  <c:v>-0.45148173843464112</c:v>
                </c:pt>
                <c:pt idx="124">
                  <c:v>-0.53772762251444028</c:v>
                </c:pt>
                <c:pt idx="125">
                  <c:v>-0.56180013080009761</c:v>
                </c:pt>
                <c:pt idx="126">
                  <c:v>-0.56201070875838677</c:v>
                </c:pt>
                <c:pt idx="127">
                  <c:v>-0.15552466480520474</c:v>
                </c:pt>
                <c:pt idx="128">
                  <c:v>-0.53450712020712121</c:v>
                </c:pt>
                <c:pt idx="129">
                  <c:v>-0.1757945179915647</c:v>
                </c:pt>
                <c:pt idx="130">
                  <c:v>-0.14285204340422641</c:v>
                </c:pt>
                <c:pt idx="131">
                  <c:v>-0.12184596412685347</c:v>
                </c:pt>
                <c:pt idx="132">
                  <c:v>-0.38333796643236506</c:v>
                </c:pt>
                <c:pt idx="133">
                  <c:v>-0.10332469331492891</c:v>
                </c:pt>
                <c:pt idx="134">
                  <c:v>-0.17778888159307127</c:v>
                </c:pt>
                <c:pt idx="135">
                  <c:v>-7.8402887244130734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502C-40F9-8CCC-4CDA04848AD2}"/>
            </c:ext>
          </c:extLst>
        </c:ser>
        <c:ser>
          <c:idx val="8"/>
          <c:order val="8"/>
          <c:tx>
            <c:strRef>
              <c:f>'Ταχύτητα ανέμου'!$V$2</c:f>
              <c:strCache>
                <c:ptCount val="1"/>
                <c:pt idx="0">
                  <c:v>24ωρη πρόγνωση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Ταχύτητα ανέμου'!$M$3:$M$138</c:f>
              <c:numCache>
                <c:formatCode>d/m/yy\ h:mm;@</c:formatCode>
                <c:ptCount val="136"/>
                <c:pt idx="0">
                  <c:v>38336</c:v>
                </c:pt>
                <c:pt idx="1">
                  <c:v>38336.124999999993</c:v>
                </c:pt>
                <c:pt idx="2">
                  <c:v>38336.25</c:v>
                </c:pt>
                <c:pt idx="3">
                  <c:v>38336.375</c:v>
                </c:pt>
                <c:pt idx="4">
                  <c:v>38336.5</c:v>
                </c:pt>
                <c:pt idx="5">
                  <c:v>38336.624999999993</c:v>
                </c:pt>
                <c:pt idx="6">
                  <c:v>38336.75</c:v>
                </c:pt>
                <c:pt idx="7">
                  <c:v>38336.875</c:v>
                </c:pt>
                <c:pt idx="8">
                  <c:v>38337</c:v>
                </c:pt>
                <c:pt idx="9">
                  <c:v>38337.124999999993</c:v>
                </c:pt>
                <c:pt idx="10">
                  <c:v>38337.25</c:v>
                </c:pt>
                <c:pt idx="11">
                  <c:v>38337.375</c:v>
                </c:pt>
                <c:pt idx="12">
                  <c:v>38337.5</c:v>
                </c:pt>
                <c:pt idx="13">
                  <c:v>38337.624999999993</c:v>
                </c:pt>
                <c:pt idx="14">
                  <c:v>38337.75</c:v>
                </c:pt>
                <c:pt idx="15">
                  <c:v>38337.875</c:v>
                </c:pt>
                <c:pt idx="16">
                  <c:v>38338</c:v>
                </c:pt>
                <c:pt idx="17">
                  <c:v>38338.124999999993</c:v>
                </c:pt>
                <c:pt idx="18">
                  <c:v>38338.25</c:v>
                </c:pt>
                <c:pt idx="19">
                  <c:v>38338.375</c:v>
                </c:pt>
                <c:pt idx="20">
                  <c:v>38338.5</c:v>
                </c:pt>
                <c:pt idx="21">
                  <c:v>38338.624999999993</c:v>
                </c:pt>
                <c:pt idx="22">
                  <c:v>38338.75</c:v>
                </c:pt>
                <c:pt idx="23">
                  <c:v>38338.875</c:v>
                </c:pt>
                <c:pt idx="24">
                  <c:v>38339</c:v>
                </c:pt>
                <c:pt idx="25">
                  <c:v>38339.124999999993</c:v>
                </c:pt>
                <c:pt idx="26">
                  <c:v>38339.25</c:v>
                </c:pt>
                <c:pt idx="27">
                  <c:v>38339.375</c:v>
                </c:pt>
                <c:pt idx="28">
                  <c:v>38339.5</c:v>
                </c:pt>
                <c:pt idx="29">
                  <c:v>38339.624999999993</c:v>
                </c:pt>
                <c:pt idx="30">
                  <c:v>38339.75</c:v>
                </c:pt>
                <c:pt idx="31">
                  <c:v>38339.875</c:v>
                </c:pt>
                <c:pt idx="32">
                  <c:v>38340</c:v>
                </c:pt>
                <c:pt idx="33">
                  <c:v>38340.124999999993</c:v>
                </c:pt>
                <c:pt idx="34">
                  <c:v>38340.25</c:v>
                </c:pt>
                <c:pt idx="35">
                  <c:v>38340.375</c:v>
                </c:pt>
                <c:pt idx="36">
                  <c:v>38340.5</c:v>
                </c:pt>
                <c:pt idx="37">
                  <c:v>38340.624999999993</c:v>
                </c:pt>
                <c:pt idx="38">
                  <c:v>38340.75</c:v>
                </c:pt>
                <c:pt idx="39">
                  <c:v>38340.875</c:v>
                </c:pt>
                <c:pt idx="40">
                  <c:v>38341</c:v>
                </c:pt>
                <c:pt idx="41">
                  <c:v>38341.124999999993</c:v>
                </c:pt>
                <c:pt idx="42">
                  <c:v>38341.25</c:v>
                </c:pt>
                <c:pt idx="43">
                  <c:v>38341.375</c:v>
                </c:pt>
                <c:pt idx="44">
                  <c:v>38341.5</c:v>
                </c:pt>
                <c:pt idx="45">
                  <c:v>38341.624999999993</c:v>
                </c:pt>
                <c:pt idx="46">
                  <c:v>38341.75</c:v>
                </c:pt>
                <c:pt idx="47">
                  <c:v>38341.875</c:v>
                </c:pt>
                <c:pt idx="48">
                  <c:v>38342</c:v>
                </c:pt>
                <c:pt idx="49">
                  <c:v>38342.124999999993</c:v>
                </c:pt>
                <c:pt idx="50">
                  <c:v>38342.25</c:v>
                </c:pt>
                <c:pt idx="51">
                  <c:v>38342.375</c:v>
                </c:pt>
                <c:pt idx="52">
                  <c:v>38342.5</c:v>
                </c:pt>
                <c:pt idx="53">
                  <c:v>38342.624999999993</c:v>
                </c:pt>
                <c:pt idx="54">
                  <c:v>38342.75</c:v>
                </c:pt>
                <c:pt idx="55">
                  <c:v>38342.875</c:v>
                </c:pt>
                <c:pt idx="56">
                  <c:v>38343</c:v>
                </c:pt>
                <c:pt idx="57">
                  <c:v>38343.124999999993</c:v>
                </c:pt>
                <c:pt idx="58">
                  <c:v>38343.25</c:v>
                </c:pt>
                <c:pt idx="59">
                  <c:v>38343.375</c:v>
                </c:pt>
                <c:pt idx="60">
                  <c:v>38343.5</c:v>
                </c:pt>
                <c:pt idx="61">
                  <c:v>38343.624999999993</c:v>
                </c:pt>
                <c:pt idx="62">
                  <c:v>38343.75</c:v>
                </c:pt>
                <c:pt idx="63">
                  <c:v>38343.875</c:v>
                </c:pt>
                <c:pt idx="64">
                  <c:v>38344</c:v>
                </c:pt>
                <c:pt idx="65">
                  <c:v>38344.124999999993</c:v>
                </c:pt>
                <c:pt idx="66">
                  <c:v>38344.25</c:v>
                </c:pt>
                <c:pt idx="67">
                  <c:v>38344.375</c:v>
                </c:pt>
                <c:pt idx="68">
                  <c:v>38344.5</c:v>
                </c:pt>
                <c:pt idx="69">
                  <c:v>38344.624999999993</c:v>
                </c:pt>
                <c:pt idx="70">
                  <c:v>38344.75</c:v>
                </c:pt>
                <c:pt idx="71">
                  <c:v>38344.875</c:v>
                </c:pt>
                <c:pt idx="72">
                  <c:v>38345</c:v>
                </c:pt>
                <c:pt idx="73">
                  <c:v>38345.124999999993</c:v>
                </c:pt>
                <c:pt idx="74">
                  <c:v>38345.25</c:v>
                </c:pt>
                <c:pt idx="75">
                  <c:v>38345.375</c:v>
                </c:pt>
                <c:pt idx="76">
                  <c:v>38345.5</c:v>
                </c:pt>
                <c:pt idx="77">
                  <c:v>38345.624999999993</c:v>
                </c:pt>
                <c:pt idx="78">
                  <c:v>38345.75</c:v>
                </c:pt>
                <c:pt idx="79">
                  <c:v>38345.875</c:v>
                </c:pt>
                <c:pt idx="80">
                  <c:v>38346</c:v>
                </c:pt>
                <c:pt idx="81">
                  <c:v>38346.124999999993</c:v>
                </c:pt>
                <c:pt idx="82">
                  <c:v>38346.25</c:v>
                </c:pt>
                <c:pt idx="83">
                  <c:v>38346.375</c:v>
                </c:pt>
                <c:pt idx="84">
                  <c:v>38346.5</c:v>
                </c:pt>
                <c:pt idx="85">
                  <c:v>38346.624999999993</c:v>
                </c:pt>
                <c:pt idx="86">
                  <c:v>38346.75</c:v>
                </c:pt>
                <c:pt idx="87">
                  <c:v>38346.875</c:v>
                </c:pt>
                <c:pt idx="88">
                  <c:v>38347</c:v>
                </c:pt>
                <c:pt idx="89">
                  <c:v>38347.124999999993</c:v>
                </c:pt>
                <c:pt idx="90">
                  <c:v>38347.25</c:v>
                </c:pt>
                <c:pt idx="91">
                  <c:v>38347.375</c:v>
                </c:pt>
                <c:pt idx="92">
                  <c:v>38347.5</c:v>
                </c:pt>
                <c:pt idx="93">
                  <c:v>38347.624999999993</c:v>
                </c:pt>
                <c:pt idx="94">
                  <c:v>38347.75</c:v>
                </c:pt>
                <c:pt idx="95">
                  <c:v>38347.875</c:v>
                </c:pt>
                <c:pt idx="96">
                  <c:v>38348</c:v>
                </c:pt>
                <c:pt idx="97">
                  <c:v>38348.124999999993</c:v>
                </c:pt>
                <c:pt idx="98">
                  <c:v>38348.25</c:v>
                </c:pt>
                <c:pt idx="99">
                  <c:v>38348.375</c:v>
                </c:pt>
                <c:pt idx="100">
                  <c:v>38348.5</c:v>
                </c:pt>
                <c:pt idx="101">
                  <c:v>38348.624999999993</c:v>
                </c:pt>
                <c:pt idx="102">
                  <c:v>38348.75</c:v>
                </c:pt>
                <c:pt idx="103">
                  <c:v>38348.875</c:v>
                </c:pt>
                <c:pt idx="104">
                  <c:v>38349</c:v>
                </c:pt>
                <c:pt idx="105">
                  <c:v>38349.124999999993</c:v>
                </c:pt>
                <c:pt idx="106">
                  <c:v>38349.25</c:v>
                </c:pt>
                <c:pt idx="107">
                  <c:v>38349.375</c:v>
                </c:pt>
                <c:pt idx="108">
                  <c:v>38349.5</c:v>
                </c:pt>
                <c:pt idx="109">
                  <c:v>38349.624999999993</c:v>
                </c:pt>
                <c:pt idx="110">
                  <c:v>38349.75</c:v>
                </c:pt>
                <c:pt idx="111">
                  <c:v>38349.875</c:v>
                </c:pt>
                <c:pt idx="112">
                  <c:v>38350</c:v>
                </c:pt>
                <c:pt idx="113">
                  <c:v>38350.124999999993</c:v>
                </c:pt>
                <c:pt idx="114">
                  <c:v>38350.25</c:v>
                </c:pt>
                <c:pt idx="115">
                  <c:v>38350.375</c:v>
                </c:pt>
                <c:pt idx="116">
                  <c:v>38350.5</c:v>
                </c:pt>
                <c:pt idx="117">
                  <c:v>38350.624999999993</c:v>
                </c:pt>
                <c:pt idx="118">
                  <c:v>38350.75</c:v>
                </c:pt>
                <c:pt idx="119">
                  <c:v>38350.875</c:v>
                </c:pt>
                <c:pt idx="120">
                  <c:v>38351</c:v>
                </c:pt>
                <c:pt idx="121">
                  <c:v>38351.124999999993</c:v>
                </c:pt>
                <c:pt idx="122">
                  <c:v>38351.25</c:v>
                </c:pt>
                <c:pt idx="123">
                  <c:v>38351.375</c:v>
                </c:pt>
                <c:pt idx="124">
                  <c:v>38351.5</c:v>
                </c:pt>
                <c:pt idx="125">
                  <c:v>38351.624999999993</c:v>
                </c:pt>
                <c:pt idx="126">
                  <c:v>38351.75</c:v>
                </c:pt>
                <c:pt idx="127">
                  <c:v>38351.875</c:v>
                </c:pt>
                <c:pt idx="128">
                  <c:v>38352</c:v>
                </c:pt>
                <c:pt idx="129">
                  <c:v>38352.124999999993</c:v>
                </c:pt>
                <c:pt idx="130">
                  <c:v>38352.25</c:v>
                </c:pt>
                <c:pt idx="131">
                  <c:v>38352.375</c:v>
                </c:pt>
                <c:pt idx="132">
                  <c:v>38352.5</c:v>
                </c:pt>
                <c:pt idx="133">
                  <c:v>38352.624999999993</c:v>
                </c:pt>
                <c:pt idx="134">
                  <c:v>38352.75</c:v>
                </c:pt>
                <c:pt idx="135">
                  <c:v>38352.875</c:v>
                </c:pt>
              </c:numCache>
            </c:numRef>
          </c:xVal>
          <c:yVal>
            <c:numRef>
              <c:f>'Ταχύτητα ανέμου'!$V$3:$V$138</c:f>
              <c:numCache>
                <c:formatCode>General</c:formatCode>
                <c:ptCount val="136"/>
                <c:pt idx="0">
                  <c:v>-0.33399712313752467</c:v>
                </c:pt>
                <c:pt idx="1">
                  <c:v>-0.32808321128194912</c:v>
                </c:pt>
                <c:pt idx="2">
                  <c:v>-0.19395967143606541</c:v>
                </c:pt>
                <c:pt idx="3">
                  <c:v>-9.0795534574795042E-2</c:v>
                </c:pt>
                <c:pt idx="4">
                  <c:v>-0.16571829753533296</c:v>
                </c:pt>
                <c:pt idx="5">
                  <c:v>-0.16496887912829791</c:v>
                </c:pt>
                <c:pt idx="6">
                  <c:v>-0.10148823822401964</c:v>
                </c:pt>
                <c:pt idx="7">
                  <c:v>-0.28884975624096948</c:v>
                </c:pt>
                <c:pt idx="8">
                  <c:v>-0.32090103301224465</c:v>
                </c:pt>
                <c:pt idx="9">
                  <c:v>-0.33656245476632118</c:v>
                </c:pt>
                <c:pt idx="10">
                  <c:v>-0.35302183811332749</c:v>
                </c:pt>
                <c:pt idx="11">
                  <c:v>-0.24784028295141786</c:v>
                </c:pt>
                <c:pt idx="12">
                  <c:v>-0.22867196222642472</c:v>
                </c:pt>
                <c:pt idx="13">
                  <c:v>-0.23538339042813383</c:v>
                </c:pt>
                <c:pt idx="14">
                  <c:v>-0.33799240322116136</c:v>
                </c:pt>
                <c:pt idx="15">
                  <c:v>-0.35058795016229188</c:v>
                </c:pt>
                <c:pt idx="16">
                  <c:v>-0.35327934804539229</c:v>
                </c:pt>
                <c:pt idx="17">
                  <c:v>-0.34247156262159018</c:v>
                </c:pt>
                <c:pt idx="18">
                  <c:v>-0.34869389699074382</c:v>
                </c:pt>
                <c:pt idx="19">
                  <c:v>-0.24128967996468687</c:v>
                </c:pt>
                <c:pt idx="20">
                  <c:v>-0.39654159207424966</c:v>
                </c:pt>
                <c:pt idx="21">
                  <c:v>-0.19529383245586068</c:v>
                </c:pt>
                <c:pt idx="22">
                  <c:v>-0.18920474474603013</c:v>
                </c:pt>
                <c:pt idx="23">
                  <c:v>-0.12287651494614522</c:v>
                </c:pt>
                <c:pt idx="24">
                  <c:v>-5.1885990771445199E-2</c:v>
                </c:pt>
                <c:pt idx="25">
                  <c:v>-0.24569673586444268</c:v>
                </c:pt>
                <c:pt idx="26">
                  <c:v>-8.5839339330886985E-2</c:v>
                </c:pt>
                <c:pt idx="27">
                  <c:v>-2.2675159134215601E-2</c:v>
                </c:pt>
                <c:pt idx="28">
                  <c:v>-7.4058724624698924E-2</c:v>
                </c:pt>
                <c:pt idx="29">
                  <c:v>-5.7904109452979885E-2</c:v>
                </c:pt>
                <c:pt idx="30">
                  <c:v>3.5522469128184936E-2</c:v>
                </c:pt>
                <c:pt idx="31">
                  <c:v>0.12707891543056718</c:v>
                </c:pt>
                <c:pt idx="32">
                  <c:v>0.17760887015692489</c:v>
                </c:pt>
                <c:pt idx="33">
                  <c:v>0.19128684424202699</c:v>
                </c:pt>
                <c:pt idx="34">
                  <c:v>7.5111456160410761E-2</c:v>
                </c:pt>
                <c:pt idx="35">
                  <c:v>4.0375916072822107E-2</c:v>
                </c:pt>
                <c:pt idx="36">
                  <c:v>9.3289063191391172E-2</c:v>
                </c:pt>
                <c:pt idx="37">
                  <c:v>0.16839294780127192</c:v>
                </c:pt>
                <c:pt idx="38">
                  <c:v>-6.3046289978783324E-2</c:v>
                </c:pt>
                <c:pt idx="39">
                  <c:v>8.1933236671876408E-2</c:v>
                </c:pt>
                <c:pt idx="40">
                  <c:v>5.2982808009844874E-2</c:v>
                </c:pt>
                <c:pt idx="41">
                  <c:v>0.15536555264664553</c:v>
                </c:pt>
                <c:pt idx="42">
                  <c:v>-0.18643253156639464</c:v>
                </c:pt>
                <c:pt idx="43">
                  <c:v>-0.3209858738890885</c:v>
                </c:pt>
                <c:pt idx="44">
                  <c:v>-0.40324621439228281</c:v>
                </c:pt>
                <c:pt idx="45">
                  <c:v>-0.2785865871490934</c:v>
                </c:pt>
                <c:pt idx="46">
                  <c:v>-0.34053446468201531</c:v>
                </c:pt>
                <c:pt idx="47">
                  <c:v>-0.32840800467069542</c:v>
                </c:pt>
                <c:pt idx="48">
                  <c:v>-0.32922732754701906</c:v>
                </c:pt>
                <c:pt idx="49">
                  <c:v>-0.31509093322902154</c:v>
                </c:pt>
                <c:pt idx="50">
                  <c:v>-0.32330521746564866</c:v>
                </c:pt>
                <c:pt idx="51">
                  <c:v>-0.36632128371255396</c:v>
                </c:pt>
                <c:pt idx="52">
                  <c:v>-0.41856051326506188</c:v>
                </c:pt>
                <c:pt idx="53">
                  <c:v>-0.41871256423183545</c:v>
                </c:pt>
                <c:pt idx="54">
                  <c:v>-0.37794527482498402</c:v>
                </c:pt>
                <c:pt idx="55">
                  <c:v>-0.34825689421428158</c:v>
                </c:pt>
                <c:pt idx="56">
                  <c:v>-0.33135581507080569</c:v>
                </c:pt>
                <c:pt idx="57">
                  <c:v>-0.32418044950836628</c:v>
                </c:pt>
                <c:pt idx="58">
                  <c:v>-0.33933516320901985</c:v>
                </c:pt>
                <c:pt idx="59">
                  <c:v>-0.23871639383388957</c:v>
                </c:pt>
                <c:pt idx="60">
                  <c:v>-0.24832775945903784</c:v>
                </c:pt>
                <c:pt idx="61">
                  <c:v>-0.39000630265504915</c:v>
                </c:pt>
                <c:pt idx="62">
                  <c:v>-0.22788426657551736</c:v>
                </c:pt>
                <c:pt idx="63">
                  <c:v>-6.4140119188307365E-2</c:v>
                </c:pt>
                <c:pt idx="64">
                  <c:v>4.6394012740174462E-2</c:v>
                </c:pt>
                <c:pt idx="65">
                  <c:v>3.3984687583109442E-2</c:v>
                </c:pt>
                <c:pt idx="66">
                  <c:v>-8.8174291289013537E-2</c:v>
                </c:pt>
                <c:pt idx="67">
                  <c:v>-9.3964408633785662E-2</c:v>
                </c:pt>
                <c:pt idx="68">
                  <c:v>-0.20921629390068441</c:v>
                </c:pt>
                <c:pt idx="69">
                  <c:v>-0.19251928153466369</c:v>
                </c:pt>
                <c:pt idx="70">
                  <c:v>-0.33138987253408569</c:v>
                </c:pt>
                <c:pt idx="71">
                  <c:v>-0.20213206447585638</c:v>
                </c:pt>
                <c:pt idx="72">
                  <c:v>-8.2418648854389126E-2</c:v>
                </c:pt>
                <c:pt idx="73">
                  <c:v>-0.26365179184781706</c:v>
                </c:pt>
                <c:pt idx="74">
                  <c:v>-0.31736910723902662</c:v>
                </c:pt>
                <c:pt idx="75">
                  <c:v>-0.38287836669179215</c:v>
                </c:pt>
                <c:pt idx="76">
                  <c:v>-0.29857309832196782</c:v>
                </c:pt>
                <c:pt idx="77">
                  <c:v>-0.40784597435377296</c:v>
                </c:pt>
                <c:pt idx="78">
                  <c:v>-0.23993473450529251</c:v>
                </c:pt>
                <c:pt idx="79">
                  <c:v>-0.31721882056041306</c:v>
                </c:pt>
                <c:pt idx="80">
                  <c:v>-0.17383035783309694</c:v>
                </c:pt>
                <c:pt idx="81">
                  <c:v>-0.13306339142333554</c:v>
                </c:pt>
                <c:pt idx="82">
                  <c:v>-0.27866699415465718</c:v>
                </c:pt>
                <c:pt idx="83">
                  <c:v>-0.17430653195311752</c:v>
                </c:pt>
                <c:pt idx="84">
                  <c:v>-0.16553342641484253</c:v>
                </c:pt>
                <c:pt idx="85">
                  <c:v>-0.13157676477304267</c:v>
                </c:pt>
                <c:pt idx="86">
                  <c:v>-0.29430590723903666</c:v>
                </c:pt>
                <c:pt idx="87">
                  <c:v>-0.32453519106390488</c:v>
                </c:pt>
                <c:pt idx="88">
                  <c:v>-0.33322665412916164</c:v>
                </c:pt>
                <c:pt idx="89">
                  <c:v>-0.33765319628861673</c:v>
                </c:pt>
                <c:pt idx="90">
                  <c:v>-0.34816677731025508</c:v>
                </c:pt>
                <c:pt idx="91">
                  <c:v>-0.39331868395207298</c:v>
                </c:pt>
                <c:pt idx="92">
                  <c:v>-0.44002397056062431</c:v>
                </c:pt>
                <c:pt idx="93">
                  <c:v>-0.45219053368364681</c:v>
                </c:pt>
                <c:pt idx="94">
                  <c:v>-0.40287751407363981</c:v>
                </c:pt>
                <c:pt idx="95">
                  <c:v>-0.21770529434261354</c:v>
                </c:pt>
                <c:pt idx="96">
                  <c:v>-0.31675732083998931</c:v>
                </c:pt>
                <c:pt idx="97">
                  <c:v>-0.10004886568265248</c:v>
                </c:pt>
                <c:pt idx="98">
                  <c:v>4.9403000058890728E-2</c:v>
                </c:pt>
                <c:pt idx="99">
                  <c:v>-4.8394569013368804E-2</c:v>
                </c:pt>
                <c:pt idx="100">
                  <c:v>-3.6425935064178766E-2</c:v>
                </c:pt>
                <c:pt idx="101">
                  <c:v>-8.8777233582380002E-2</c:v>
                </c:pt>
                <c:pt idx="102">
                  <c:v>-4.486398687227082E-2</c:v>
                </c:pt>
                <c:pt idx="103">
                  <c:v>-1.8525526391681235E-3</c:v>
                </c:pt>
                <c:pt idx="104">
                  <c:v>6.4322567349943127E-2</c:v>
                </c:pt>
                <c:pt idx="105">
                  <c:v>0.11326523817143797</c:v>
                </c:pt>
                <c:pt idx="106">
                  <c:v>4.8636545715268355E-2</c:v>
                </c:pt>
                <c:pt idx="107">
                  <c:v>6.2347733271415913E-2</c:v>
                </c:pt>
                <c:pt idx="108">
                  <c:v>5.9261321897238657E-2</c:v>
                </c:pt>
                <c:pt idx="109">
                  <c:v>-7.2263523404591412E-2</c:v>
                </c:pt>
                <c:pt idx="110">
                  <c:v>-0.10522471783788621</c:v>
                </c:pt>
                <c:pt idx="111">
                  <c:v>-0.12858288433171722</c:v>
                </c:pt>
                <c:pt idx="112">
                  <c:v>-0.27601310333648482</c:v>
                </c:pt>
                <c:pt idx="113">
                  <c:v>-0.12366293067173305</c:v>
                </c:pt>
                <c:pt idx="114">
                  <c:v>-2.3146987250696797E-2</c:v>
                </c:pt>
                <c:pt idx="115">
                  <c:v>-6.9280099949934545E-2</c:v>
                </c:pt>
                <c:pt idx="116">
                  <c:v>-4.1277987634625792E-2</c:v>
                </c:pt>
                <c:pt idx="117">
                  <c:v>-0.16472974947395197</c:v>
                </c:pt>
                <c:pt idx="118">
                  <c:v>-0.15455329950346247</c:v>
                </c:pt>
                <c:pt idx="119">
                  <c:v>-0.10055113910205281</c:v>
                </c:pt>
                <c:pt idx="120">
                  <c:v>1.1797819568313746E-2</c:v>
                </c:pt>
                <c:pt idx="121">
                  <c:v>8.5861542142689679E-2</c:v>
                </c:pt>
                <c:pt idx="122">
                  <c:v>0.12760612349625838</c:v>
                </c:pt>
                <c:pt idx="123">
                  <c:v>0.13675910109207151</c:v>
                </c:pt>
                <c:pt idx="124">
                  <c:v>-0.11953702282079404</c:v>
                </c:pt>
                <c:pt idx="125">
                  <c:v>-0.32625852956370882</c:v>
                </c:pt>
                <c:pt idx="126">
                  <c:v>-0.35513595971139583</c:v>
                </c:pt>
                <c:pt idx="127">
                  <c:v>-0.35304717797714685</c:v>
                </c:pt>
                <c:pt idx="128">
                  <c:v>-0.34169832562419344</c:v>
                </c:pt>
                <c:pt idx="129">
                  <c:v>-0.32781481844341664</c:v>
                </c:pt>
                <c:pt idx="130">
                  <c:v>-0.32885264285733007</c:v>
                </c:pt>
                <c:pt idx="131">
                  <c:v>-8.0780761897255582E-3</c:v>
                </c:pt>
                <c:pt idx="132">
                  <c:v>-0.32772625077695688</c:v>
                </c:pt>
                <c:pt idx="133">
                  <c:v>-4.9601733081627804E-2</c:v>
                </c:pt>
                <c:pt idx="134">
                  <c:v>-6.4018422104044848E-2</c:v>
                </c:pt>
                <c:pt idx="135">
                  <c:v>-7.7817913727696919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502C-40F9-8CCC-4CDA04848A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7453056"/>
        <c:axId val="167454592"/>
        <c:extLst>
          <c:ext xmlns:c15="http://schemas.microsoft.com/office/drawing/2012/chart" uri="{02D57815-91ED-43cb-92C2-25804820EDAC}">
            <c15:filteredScatter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'Ταχύτητα ανέμου'!$Q$2</c15:sqref>
                        </c15:formulaRef>
                      </c:ext>
                    </c:extLst>
                    <c:strCache>
                      <c:ptCount val="1"/>
                      <c:pt idx="0">
                        <c:v>9ωρη πρόγνωση</c:v>
                      </c:pt>
                    </c:strCache>
                  </c:strRef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Ταχύτητα ανέμου'!$M$3:$M$138</c15:sqref>
                        </c15:formulaRef>
                      </c:ext>
                    </c:extLst>
                    <c:numCache>
                      <c:formatCode>d/m/yy\ h:mm;@</c:formatCode>
                      <c:ptCount val="136"/>
                      <c:pt idx="0">
                        <c:v>38336</c:v>
                      </c:pt>
                      <c:pt idx="1">
                        <c:v>38336.125</c:v>
                      </c:pt>
                      <c:pt idx="2">
                        <c:v>38336.25</c:v>
                      </c:pt>
                      <c:pt idx="3">
                        <c:v>38336.375</c:v>
                      </c:pt>
                      <c:pt idx="4">
                        <c:v>38336.5</c:v>
                      </c:pt>
                      <c:pt idx="5">
                        <c:v>38336.625</c:v>
                      </c:pt>
                      <c:pt idx="6">
                        <c:v>38336.75</c:v>
                      </c:pt>
                      <c:pt idx="7">
                        <c:v>38336.875</c:v>
                      </c:pt>
                      <c:pt idx="8">
                        <c:v>38337</c:v>
                      </c:pt>
                      <c:pt idx="9">
                        <c:v>38337.125</c:v>
                      </c:pt>
                      <c:pt idx="10">
                        <c:v>38337.25</c:v>
                      </c:pt>
                      <c:pt idx="11">
                        <c:v>38337.375</c:v>
                      </c:pt>
                      <c:pt idx="12">
                        <c:v>38337.5</c:v>
                      </c:pt>
                      <c:pt idx="13">
                        <c:v>38337.625</c:v>
                      </c:pt>
                      <c:pt idx="14">
                        <c:v>38337.75</c:v>
                      </c:pt>
                      <c:pt idx="15">
                        <c:v>38337.875</c:v>
                      </c:pt>
                      <c:pt idx="16">
                        <c:v>38338</c:v>
                      </c:pt>
                      <c:pt idx="17">
                        <c:v>38338.125</c:v>
                      </c:pt>
                      <c:pt idx="18">
                        <c:v>38338.25</c:v>
                      </c:pt>
                      <c:pt idx="19">
                        <c:v>38338.375</c:v>
                      </c:pt>
                      <c:pt idx="20">
                        <c:v>38338.5</c:v>
                      </c:pt>
                      <c:pt idx="21">
                        <c:v>38338.625</c:v>
                      </c:pt>
                      <c:pt idx="22">
                        <c:v>38338.75</c:v>
                      </c:pt>
                      <c:pt idx="23">
                        <c:v>38338.875</c:v>
                      </c:pt>
                      <c:pt idx="24">
                        <c:v>38339</c:v>
                      </c:pt>
                      <c:pt idx="25">
                        <c:v>38339.125</c:v>
                      </c:pt>
                      <c:pt idx="26">
                        <c:v>38339.25</c:v>
                      </c:pt>
                      <c:pt idx="27">
                        <c:v>38339.375</c:v>
                      </c:pt>
                      <c:pt idx="28">
                        <c:v>38339.5</c:v>
                      </c:pt>
                      <c:pt idx="29">
                        <c:v>38339.625</c:v>
                      </c:pt>
                      <c:pt idx="30">
                        <c:v>38339.75</c:v>
                      </c:pt>
                      <c:pt idx="31">
                        <c:v>38339.875</c:v>
                      </c:pt>
                      <c:pt idx="32">
                        <c:v>38340</c:v>
                      </c:pt>
                      <c:pt idx="33">
                        <c:v>38340.125</c:v>
                      </c:pt>
                      <c:pt idx="34">
                        <c:v>38340.25</c:v>
                      </c:pt>
                      <c:pt idx="35">
                        <c:v>38340.375</c:v>
                      </c:pt>
                      <c:pt idx="36">
                        <c:v>38340.5</c:v>
                      </c:pt>
                      <c:pt idx="37">
                        <c:v>38340.625</c:v>
                      </c:pt>
                      <c:pt idx="38">
                        <c:v>38340.75</c:v>
                      </c:pt>
                      <c:pt idx="39">
                        <c:v>38340.875</c:v>
                      </c:pt>
                      <c:pt idx="40">
                        <c:v>38341</c:v>
                      </c:pt>
                      <c:pt idx="41">
                        <c:v>38341.125</c:v>
                      </c:pt>
                      <c:pt idx="42">
                        <c:v>38341.25</c:v>
                      </c:pt>
                      <c:pt idx="43">
                        <c:v>38341.375</c:v>
                      </c:pt>
                      <c:pt idx="44">
                        <c:v>38341.5</c:v>
                      </c:pt>
                      <c:pt idx="45">
                        <c:v>38341.625</c:v>
                      </c:pt>
                      <c:pt idx="46">
                        <c:v>38341.75</c:v>
                      </c:pt>
                      <c:pt idx="47">
                        <c:v>38341.875</c:v>
                      </c:pt>
                      <c:pt idx="48">
                        <c:v>38342</c:v>
                      </c:pt>
                      <c:pt idx="49">
                        <c:v>38342.125</c:v>
                      </c:pt>
                      <c:pt idx="50">
                        <c:v>38342.25</c:v>
                      </c:pt>
                      <c:pt idx="51">
                        <c:v>38342.375</c:v>
                      </c:pt>
                      <c:pt idx="52">
                        <c:v>38342.5</c:v>
                      </c:pt>
                      <c:pt idx="53">
                        <c:v>38342.625</c:v>
                      </c:pt>
                      <c:pt idx="54">
                        <c:v>38342.75</c:v>
                      </c:pt>
                      <c:pt idx="55">
                        <c:v>38342.875</c:v>
                      </c:pt>
                      <c:pt idx="56">
                        <c:v>38343</c:v>
                      </c:pt>
                      <c:pt idx="57">
                        <c:v>38343.125</c:v>
                      </c:pt>
                      <c:pt idx="58">
                        <c:v>38343.25</c:v>
                      </c:pt>
                      <c:pt idx="59">
                        <c:v>38343.375</c:v>
                      </c:pt>
                      <c:pt idx="60">
                        <c:v>38343.5</c:v>
                      </c:pt>
                      <c:pt idx="61">
                        <c:v>38343.625</c:v>
                      </c:pt>
                      <c:pt idx="62">
                        <c:v>38343.75</c:v>
                      </c:pt>
                      <c:pt idx="63">
                        <c:v>38343.875</c:v>
                      </c:pt>
                      <c:pt idx="64">
                        <c:v>38344</c:v>
                      </c:pt>
                      <c:pt idx="65">
                        <c:v>38344.125</c:v>
                      </c:pt>
                      <c:pt idx="66">
                        <c:v>38344.25</c:v>
                      </c:pt>
                      <c:pt idx="67">
                        <c:v>38344.375</c:v>
                      </c:pt>
                      <c:pt idx="68">
                        <c:v>38344.5</c:v>
                      </c:pt>
                      <c:pt idx="69">
                        <c:v>38344.625</c:v>
                      </c:pt>
                      <c:pt idx="70">
                        <c:v>38344.75</c:v>
                      </c:pt>
                      <c:pt idx="71">
                        <c:v>38344.875</c:v>
                      </c:pt>
                      <c:pt idx="72">
                        <c:v>38345</c:v>
                      </c:pt>
                      <c:pt idx="73">
                        <c:v>38345.125</c:v>
                      </c:pt>
                      <c:pt idx="74">
                        <c:v>38345.25</c:v>
                      </c:pt>
                      <c:pt idx="75">
                        <c:v>38345.375</c:v>
                      </c:pt>
                      <c:pt idx="76">
                        <c:v>38345.5</c:v>
                      </c:pt>
                      <c:pt idx="77">
                        <c:v>38345.625</c:v>
                      </c:pt>
                      <c:pt idx="78">
                        <c:v>38345.75</c:v>
                      </c:pt>
                      <c:pt idx="79">
                        <c:v>38345.875</c:v>
                      </c:pt>
                      <c:pt idx="80">
                        <c:v>38346</c:v>
                      </c:pt>
                      <c:pt idx="81">
                        <c:v>38346.125</c:v>
                      </c:pt>
                      <c:pt idx="82">
                        <c:v>38346.25</c:v>
                      </c:pt>
                      <c:pt idx="83">
                        <c:v>38346.375</c:v>
                      </c:pt>
                      <c:pt idx="84">
                        <c:v>38346.5</c:v>
                      </c:pt>
                      <c:pt idx="85">
                        <c:v>38346.625</c:v>
                      </c:pt>
                      <c:pt idx="86">
                        <c:v>38346.75</c:v>
                      </c:pt>
                      <c:pt idx="87">
                        <c:v>38346.875</c:v>
                      </c:pt>
                      <c:pt idx="88">
                        <c:v>38347</c:v>
                      </c:pt>
                      <c:pt idx="89">
                        <c:v>38347.125</c:v>
                      </c:pt>
                      <c:pt idx="90">
                        <c:v>38347.25</c:v>
                      </c:pt>
                      <c:pt idx="91">
                        <c:v>38347.375</c:v>
                      </c:pt>
                      <c:pt idx="92">
                        <c:v>38347.5</c:v>
                      </c:pt>
                      <c:pt idx="93">
                        <c:v>38347.625</c:v>
                      </c:pt>
                      <c:pt idx="94">
                        <c:v>38347.75</c:v>
                      </c:pt>
                      <c:pt idx="95">
                        <c:v>38347.875</c:v>
                      </c:pt>
                      <c:pt idx="96">
                        <c:v>38348</c:v>
                      </c:pt>
                      <c:pt idx="97">
                        <c:v>38348.125</c:v>
                      </c:pt>
                      <c:pt idx="98">
                        <c:v>38348.25</c:v>
                      </c:pt>
                      <c:pt idx="99">
                        <c:v>38348.375</c:v>
                      </c:pt>
                      <c:pt idx="100">
                        <c:v>38348.5</c:v>
                      </c:pt>
                      <c:pt idx="101">
                        <c:v>38348.625</c:v>
                      </c:pt>
                      <c:pt idx="102">
                        <c:v>38348.75</c:v>
                      </c:pt>
                      <c:pt idx="103">
                        <c:v>38348.875</c:v>
                      </c:pt>
                      <c:pt idx="104">
                        <c:v>38349</c:v>
                      </c:pt>
                      <c:pt idx="105">
                        <c:v>38349.125</c:v>
                      </c:pt>
                      <c:pt idx="106">
                        <c:v>38349.25</c:v>
                      </c:pt>
                      <c:pt idx="107">
                        <c:v>38349.375</c:v>
                      </c:pt>
                      <c:pt idx="108">
                        <c:v>38349.5</c:v>
                      </c:pt>
                      <c:pt idx="109">
                        <c:v>38349.625</c:v>
                      </c:pt>
                      <c:pt idx="110">
                        <c:v>38349.75</c:v>
                      </c:pt>
                      <c:pt idx="111">
                        <c:v>38349.875</c:v>
                      </c:pt>
                      <c:pt idx="112">
                        <c:v>38350</c:v>
                      </c:pt>
                      <c:pt idx="113">
                        <c:v>38350.125</c:v>
                      </c:pt>
                      <c:pt idx="114">
                        <c:v>38350.25</c:v>
                      </c:pt>
                      <c:pt idx="115">
                        <c:v>38350.375</c:v>
                      </c:pt>
                      <c:pt idx="116">
                        <c:v>38350.5</c:v>
                      </c:pt>
                      <c:pt idx="117">
                        <c:v>38350.625</c:v>
                      </c:pt>
                      <c:pt idx="118">
                        <c:v>38350.75</c:v>
                      </c:pt>
                      <c:pt idx="119">
                        <c:v>38350.875</c:v>
                      </c:pt>
                      <c:pt idx="120">
                        <c:v>38351</c:v>
                      </c:pt>
                      <c:pt idx="121">
                        <c:v>38351.125</c:v>
                      </c:pt>
                      <c:pt idx="122">
                        <c:v>38351.25</c:v>
                      </c:pt>
                      <c:pt idx="123">
                        <c:v>38351.375</c:v>
                      </c:pt>
                      <c:pt idx="124">
                        <c:v>38351.5</c:v>
                      </c:pt>
                      <c:pt idx="125">
                        <c:v>38351.625</c:v>
                      </c:pt>
                      <c:pt idx="126">
                        <c:v>38351.75</c:v>
                      </c:pt>
                      <c:pt idx="127">
                        <c:v>38351.875</c:v>
                      </c:pt>
                      <c:pt idx="128">
                        <c:v>38352</c:v>
                      </c:pt>
                      <c:pt idx="129">
                        <c:v>38352.125</c:v>
                      </c:pt>
                      <c:pt idx="130">
                        <c:v>38352.25</c:v>
                      </c:pt>
                      <c:pt idx="131">
                        <c:v>38352.375</c:v>
                      </c:pt>
                      <c:pt idx="132">
                        <c:v>38352.5</c:v>
                      </c:pt>
                      <c:pt idx="133">
                        <c:v>38352.625</c:v>
                      </c:pt>
                      <c:pt idx="134">
                        <c:v>38352.75</c:v>
                      </c:pt>
                      <c:pt idx="135">
                        <c:v>38352.875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Ταχύτητα ανέμου'!$Q$3:$Q$138</c15:sqref>
                        </c15:formulaRef>
                      </c:ext>
                    </c:extLst>
                    <c:numCache>
                      <c:formatCode>General</c:formatCode>
                      <c:ptCount val="136"/>
                      <c:pt idx="0">
                        <c:v>-0.3387653377321978</c:v>
                      </c:pt>
                      <c:pt idx="1">
                        <c:v>-0.21022302049938466</c:v>
                      </c:pt>
                      <c:pt idx="2">
                        <c:v>-0.43026535420304723</c:v>
                      </c:pt>
                      <c:pt idx="3">
                        <c:v>-0.49222158849149422</c:v>
                      </c:pt>
                      <c:pt idx="4">
                        <c:v>-0.53717853804876214</c:v>
                      </c:pt>
                      <c:pt idx="5">
                        <c:v>-0.56297209988038421</c:v>
                      </c:pt>
                      <c:pt idx="6">
                        <c:v>-0.43158365836998791</c:v>
                      </c:pt>
                      <c:pt idx="7">
                        <c:v>-0.43947317703424016</c:v>
                      </c:pt>
                      <c:pt idx="8">
                        <c:v>-0.44320021266918386</c:v>
                      </c:pt>
                      <c:pt idx="9">
                        <c:v>-0.59147913687019771</c:v>
                      </c:pt>
                      <c:pt idx="10">
                        <c:v>-0.60029272888862861</c:v>
                      </c:pt>
                      <c:pt idx="11">
                        <c:v>-0.58374931295601429</c:v>
                      </c:pt>
                      <c:pt idx="12">
                        <c:v>-0.58416189172765964</c:v>
                      </c:pt>
                      <c:pt idx="13">
                        <c:v>-0.617166572958327</c:v>
                      </c:pt>
                      <c:pt idx="14">
                        <c:v>-0.48360689324358208</c:v>
                      </c:pt>
                      <c:pt idx="15">
                        <c:v>-0.70123205667352195</c:v>
                      </c:pt>
                      <c:pt idx="16">
                        <c:v>-0.41441987264606389</c:v>
                      </c:pt>
                      <c:pt idx="17">
                        <c:v>-0.38696905125434899</c:v>
                      </c:pt>
                      <c:pt idx="18">
                        <c:v>-0.26479982378988437</c:v>
                      </c:pt>
                      <c:pt idx="19">
                        <c:v>-0.14826847274832003</c:v>
                      </c:pt>
                      <c:pt idx="20">
                        <c:v>-0.43933868096092771</c:v>
                      </c:pt>
                      <c:pt idx="21">
                        <c:v>-0.16156044159274324</c:v>
                      </c:pt>
                      <c:pt idx="22">
                        <c:v>-6.2702463789327589E-2</c:v>
                      </c:pt>
                      <c:pt idx="23">
                        <c:v>-0.12139754467299932</c:v>
                      </c:pt>
                      <c:pt idx="24">
                        <c:v>-0.12192498274711477</c:v>
                      </c:pt>
                      <c:pt idx="25">
                        <c:v>1.2276779806031174E-2</c:v>
                      </c:pt>
                      <c:pt idx="26">
                        <c:v>0.21078183046225424</c:v>
                      </c:pt>
                      <c:pt idx="27">
                        <c:v>0.28827066002312185</c:v>
                      </c:pt>
                      <c:pt idx="28">
                        <c:v>0.30131346748611204</c:v>
                      </c:pt>
                      <c:pt idx="29">
                        <c:v>0.1583428600185055</c:v>
                      </c:pt>
                      <c:pt idx="30">
                        <c:v>0.13623153655328615</c:v>
                      </c:pt>
                      <c:pt idx="31">
                        <c:v>0.22705431065117859</c:v>
                      </c:pt>
                      <c:pt idx="32">
                        <c:v>0.33829487157454818</c:v>
                      </c:pt>
                      <c:pt idx="33">
                        <c:v>-2.7981503130583923E-2</c:v>
                      </c:pt>
                      <c:pt idx="34">
                        <c:v>0.14906832057698791</c:v>
                      </c:pt>
                      <c:pt idx="35">
                        <c:v>0.11749650871130324</c:v>
                      </c:pt>
                      <c:pt idx="36">
                        <c:v>0.28838083952096411</c:v>
                      </c:pt>
                      <c:pt idx="37">
                        <c:v>-0.22851901653837764</c:v>
                      </c:pt>
                      <c:pt idx="38">
                        <c:v>-0.46081622449955767</c:v>
                      </c:pt>
                      <c:pt idx="39">
                        <c:v>-0.56137016167314369</c:v>
                      </c:pt>
                      <c:pt idx="40">
                        <c:v>-0.40185795852854633</c:v>
                      </c:pt>
                      <c:pt idx="41">
                        <c:v>-0.55061819605056306</c:v>
                      </c:pt>
                      <c:pt idx="42">
                        <c:v>-0.64320574424847177</c:v>
                      </c:pt>
                      <c:pt idx="43">
                        <c:v>-0.64279664699498751</c:v>
                      </c:pt>
                      <c:pt idx="44">
                        <c:v>-0.61591321102168339</c:v>
                      </c:pt>
                      <c:pt idx="45">
                        <c:v>-0.60261147844347629</c:v>
                      </c:pt>
                      <c:pt idx="46">
                        <c:v>-0.67870297622667897</c:v>
                      </c:pt>
                      <c:pt idx="47">
                        <c:v>-0.74516261645764148</c:v>
                      </c:pt>
                      <c:pt idx="48">
                        <c:v>-0.75412545060624225</c:v>
                      </c:pt>
                      <c:pt idx="49">
                        <c:v>-0.70013701210151802</c:v>
                      </c:pt>
                      <c:pt idx="50">
                        <c:v>-0.67264068499801244</c:v>
                      </c:pt>
                      <c:pt idx="51">
                        <c:v>-0.66126137169308785</c:v>
                      </c:pt>
                      <c:pt idx="52">
                        <c:v>-0.63893779932048989</c:v>
                      </c:pt>
                      <c:pt idx="53">
                        <c:v>-0.63754903509018035</c:v>
                      </c:pt>
                      <c:pt idx="54">
                        <c:v>-0.47344191939602176</c:v>
                      </c:pt>
                      <c:pt idx="55">
                        <c:v>-0.47484664904020168</c:v>
                      </c:pt>
                      <c:pt idx="56">
                        <c:v>-0.66064049116784052</c:v>
                      </c:pt>
                      <c:pt idx="57">
                        <c:v>-0.44290812512756644</c:v>
                      </c:pt>
                      <c:pt idx="58">
                        <c:v>-0.19346032171458666</c:v>
                      </c:pt>
                      <c:pt idx="59">
                        <c:v>-1.9136841685197387E-2</c:v>
                      </c:pt>
                      <c:pt idx="60">
                        <c:v>-3.3751864616462048E-2</c:v>
                      </c:pt>
                      <c:pt idx="61">
                        <c:v>-0.1916197090921169</c:v>
                      </c:pt>
                      <c:pt idx="62">
                        <c:v>-0.12391392872219129</c:v>
                      </c:pt>
                      <c:pt idx="63">
                        <c:v>-0.25921731966767397</c:v>
                      </c:pt>
                      <c:pt idx="64">
                        <c:v>-0.23438625329479745</c:v>
                      </c:pt>
                      <c:pt idx="65">
                        <c:v>-0.47513283825275493</c:v>
                      </c:pt>
                      <c:pt idx="66">
                        <c:v>-0.32741850255073612</c:v>
                      </c:pt>
                      <c:pt idx="67">
                        <c:v>-0.16724216580868181</c:v>
                      </c:pt>
                      <c:pt idx="68">
                        <c:v>-0.44950719012213181</c:v>
                      </c:pt>
                      <c:pt idx="69">
                        <c:v>-0.53662317263788895</c:v>
                      </c:pt>
                      <c:pt idx="70">
                        <c:v>-0.63582107301170654</c:v>
                      </c:pt>
                      <c:pt idx="71">
                        <c:v>-0.47058787969376442</c:v>
                      </c:pt>
                      <c:pt idx="72">
                        <c:v>-0.65171732125097015</c:v>
                      </c:pt>
                      <c:pt idx="73">
                        <c:v>-0.47835460952750131</c:v>
                      </c:pt>
                      <c:pt idx="74">
                        <c:v>-0.60255449023992069</c:v>
                      </c:pt>
                      <c:pt idx="75">
                        <c:v>-0.3884095530270274</c:v>
                      </c:pt>
                      <c:pt idx="76">
                        <c:v>-0.31700513290790655</c:v>
                      </c:pt>
                      <c:pt idx="77">
                        <c:v>-0.52561172440078785</c:v>
                      </c:pt>
                      <c:pt idx="78">
                        <c:v>-0.33406468284903046</c:v>
                      </c:pt>
                      <c:pt idx="79">
                        <c:v>-0.30328611514434245</c:v>
                      </c:pt>
                      <c:pt idx="80">
                        <c:v>-0.22126411856783501</c:v>
                      </c:pt>
                      <c:pt idx="81">
                        <c:v>-0.491525374291996</c:v>
                      </c:pt>
                      <c:pt idx="82">
                        <c:v>-0.55941624081232977</c:v>
                      </c:pt>
                      <c:pt idx="83">
                        <c:v>-0.54490486343260724</c:v>
                      </c:pt>
                      <c:pt idx="84">
                        <c:v>-0.54881112758904105</c:v>
                      </c:pt>
                      <c:pt idx="85">
                        <c:v>-0.59176494404410551</c:v>
                      </c:pt>
                      <c:pt idx="86">
                        <c:v>-0.69419132788655702</c:v>
                      </c:pt>
                      <c:pt idx="87">
                        <c:v>-0.75856302615551474</c:v>
                      </c:pt>
                      <c:pt idx="88">
                        <c:v>-0.76766615727273368</c:v>
                      </c:pt>
                      <c:pt idx="89">
                        <c:v>-0.71836926713599292</c:v>
                      </c:pt>
                      <c:pt idx="90">
                        <c:v>-0.47380068674639897</c:v>
                      </c:pt>
                      <c:pt idx="91">
                        <c:v>-0.61131882737016807</c:v>
                      </c:pt>
                      <c:pt idx="92">
                        <c:v>-0.30511643013508721</c:v>
                      </c:pt>
                      <c:pt idx="93">
                        <c:v>-5.8692464381212867E-2</c:v>
                      </c:pt>
                      <c:pt idx="94">
                        <c:v>-0.15090554511462642</c:v>
                      </c:pt>
                      <c:pt idx="95">
                        <c:v>-0.10045398709309436</c:v>
                      </c:pt>
                      <c:pt idx="96">
                        <c:v>-0.16926667845335397</c:v>
                      </c:pt>
                      <c:pt idx="97">
                        <c:v>-2.4400939920452999E-2</c:v>
                      </c:pt>
                      <c:pt idx="98">
                        <c:v>2.9055988535262076E-2</c:v>
                      </c:pt>
                      <c:pt idx="99">
                        <c:v>9.5882511186139621E-2</c:v>
                      </c:pt>
                      <c:pt idx="100">
                        <c:v>0.18307123495810182</c:v>
                      </c:pt>
                      <c:pt idx="101">
                        <c:v>8.7089188613820506E-2</c:v>
                      </c:pt>
                      <c:pt idx="102">
                        <c:v>0.12857012322174757</c:v>
                      </c:pt>
                      <c:pt idx="103">
                        <c:v>0.14038583050106745</c:v>
                      </c:pt>
                      <c:pt idx="104">
                        <c:v>-2.7021239967158994E-2</c:v>
                      </c:pt>
                      <c:pt idx="105">
                        <c:v>-9.0015210556880387E-2</c:v>
                      </c:pt>
                      <c:pt idx="106">
                        <c:v>-0.15649234792151329</c:v>
                      </c:pt>
                      <c:pt idx="107">
                        <c:v>-0.38078227862391401</c:v>
                      </c:pt>
                      <c:pt idx="108">
                        <c:v>-0.19588461000067281</c:v>
                      </c:pt>
                      <c:pt idx="109">
                        <c:v>-8.8315536626303343E-2</c:v>
                      </c:pt>
                      <c:pt idx="110">
                        <c:v>-0.14691890767962623</c:v>
                      </c:pt>
                      <c:pt idx="111">
                        <c:v>-0.12115443618571528</c:v>
                      </c:pt>
                      <c:pt idx="112">
                        <c:v>-0.29940536151713837</c:v>
                      </c:pt>
                      <c:pt idx="113">
                        <c:v>-0.23355133098422609</c:v>
                      </c:pt>
                      <c:pt idx="114">
                        <c:v>-0.1512776234966578</c:v>
                      </c:pt>
                      <c:pt idx="115">
                        <c:v>-2.2338722937074645E-2</c:v>
                      </c:pt>
                      <c:pt idx="116">
                        <c:v>6.7979887774584108E-2</c:v>
                      </c:pt>
                      <c:pt idx="117">
                        <c:v>0.12051124937102536</c:v>
                      </c:pt>
                      <c:pt idx="118">
                        <c:v>0.16926370921638961</c:v>
                      </c:pt>
                      <c:pt idx="119">
                        <c:v>-0.15878079641123682</c:v>
                      </c:pt>
                      <c:pt idx="120">
                        <c:v>-0.43463180655007544</c:v>
                      </c:pt>
                      <c:pt idx="121">
                        <c:v>-0.47376502293131328</c:v>
                      </c:pt>
                      <c:pt idx="122">
                        <c:v>-0.49120215798210298</c:v>
                      </c:pt>
                      <c:pt idx="123">
                        <c:v>-0.53567445075769782</c:v>
                      </c:pt>
                      <c:pt idx="124">
                        <c:v>-0.60542073279941588</c:v>
                      </c:pt>
                      <c:pt idx="125">
                        <c:v>-0.64501996539044049</c:v>
                      </c:pt>
                      <c:pt idx="126">
                        <c:v>-0.16248842040731262</c:v>
                      </c:pt>
                      <c:pt idx="127">
                        <c:v>-0.59871529979980775</c:v>
                      </c:pt>
                      <c:pt idx="128">
                        <c:v>-0.19573487983412236</c:v>
                      </c:pt>
                      <c:pt idx="129">
                        <c:v>-0.19297632507746057</c:v>
                      </c:pt>
                      <c:pt idx="130">
                        <c:v>-0.15719787843704414</c:v>
                      </c:pt>
                      <c:pt idx="131">
                        <c:v>-0.39019556420401996</c:v>
                      </c:pt>
                      <c:pt idx="132">
                        <c:v>-0.18670810220122538</c:v>
                      </c:pt>
                      <c:pt idx="133">
                        <c:v>-0.17816301029075632</c:v>
                      </c:pt>
                      <c:pt idx="134">
                        <c:v>-5.8444803388081716E-2</c:v>
                      </c:pt>
                      <c:pt idx="135">
                        <c:v>-9.1590195966076593E-2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5-502C-40F9-8CCC-4CDA04848AD2}"/>
                  </c:ext>
                </c:extLst>
              </c15:ser>
            </c15:filteredScatterSeries>
            <c15:filteredScatte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Ταχύτητα ανέμου'!$S$2</c15:sqref>
                        </c15:formulaRef>
                      </c:ext>
                    </c:extLst>
                    <c:strCache>
                      <c:ptCount val="1"/>
                      <c:pt idx="0">
                        <c:v>15ωρη πρόγνωση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Ταχύτητα ανέμου'!$M$3:$M$138</c15:sqref>
                        </c15:formulaRef>
                      </c:ext>
                    </c:extLst>
                    <c:numCache>
                      <c:formatCode>d/m/yy\ h:mm;@</c:formatCode>
                      <c:ptCount val="136"/>
                      <c:pt idx="0">
                        <c:v>38336</c:v>
                      </c:pt>
                      <c:pt idx="1">
                        <c:v>38336.125</c:v>
                      </c:pt>
                      <c:pt idx="2">
                        <c:v>38336.25</c:v>
                      </c:pt>
                      <c:pt idx="3">
                        <c:v>38336.375</c:v>
                      </c:pt>
                      <c:pt idx="4">
                        <c:v>38336.5</c:v>
                      </c:pt>
                      <c:pt idx="5">
                        <c:v>38336.625</c:v>
                      </c:pt>
                      <c:pt idx="6">
                        <c:v>38336.75</c:v>
                      </c:pt>
                      <c:pt idx="7">
                        <c:v>38336.875</c:v>
                      </c:pt>
                      <c:pt idx="8">
                        <c:v>38337</c:v>
                      </c:pt>
                      <c:pt idx="9">
                        <c:v>38337.125</c:v>
                      </c:pt>
                      <c:pt idx="10">
                        <c:v>38337.25</c:v>
                      </c:pt>
                      <c:pt idx="11">
                        <c:v>38337.375</c:v>
                      </c:pt>
                      <c:pt idx="12">
                        <c:v>38337.5</c:v>
                      </c:pt>
                      <c:pt idx="13">
                        <c:v>38337.625</c:v>
                      </c:pt>
                      <c:pt idx="14">
                        <c:v>38337.75</c:v>
                      </c:pt>
                      <c:pt idx="15">
                        <c:v>38337.875</c:v>
                      </c:pt>
                      <c:pt idx="16">
                        <c:v>38338</c:v>
                      </c:pt>
                      <c:pt idx="17">
                        <c:v>38338.125</c:v>
                      </c:pt>
                      <c:pt idx="18">
                        <c:v>38338.25</c:v>
                      </c:pt>
                      <c:pt idx="19">
                        <c:v>38338.375</c:v>
                      </c:pt>
                      <c:pt idx="20">
                        <c:v>38338.5</c:v>
                      </c:pt>
                      <c:pt idx="21">
                        <c:v>38338.625</c:v>
                      </c:pt>
                      <c:pt idx="22">
                        <c:v>38338.75</c:v>
                      </c:pt>
                      <c:pt idx="23">
                        <c:v>38338.875</c:v>
                      </c:pt>
                      <c:pt idx="24">
                        <c:v>38339</c:v>
                      </c:pt>
                      <c:pt idx="25">
                        <c:v>38339.125</c:v>
                      </c:pt>
                      <c:pt idx="26">
                        <c:v>38339.25</c:v>
                      </c:pt>
                      <c:pt idx="27">
                        <c:v>38339.375</c:v>
                      </c:pt>
                      <c:pt idx="28">
                        <c:v>38339.5</c:v>
                      </c:pt>
                      <c:pt idx="29">
                        <c:v>38339.625</c:v>
                      </c:pt>
                      <c:pt idx="30">
                        <c:v>38339.75</c:v>
                      </c:pt>
                      <c:pt idx="31">
                        <c:v>38339.875</c:v>
                      </c:pt>
                      <c:pt idx="32">
                        <c:v>38340</c:v>
                      </c:pt>
                      <c:pt idx="33">
                        <c:v>38340.125</c:v>
                      </c:pt>
                      <c:pt idx="34">
                        <c:v>38340.25</c:v>
                      </c:pt>
                      <c:pt idx="35">
                        <c:v>38340.375</c:v>
                      </c:pt>
                      <c:pt idx="36">
                        <c:v>38340.5</c:v>
                      </c:pt>
                      <c:pt idx="37">
                        <c:v>38340.625</c:v>
                      </c:pt>
                      <c:pt idx="38">
                        <c:v>38340.75</c:v>
                      </c:pt>
                      <c:pt idx="39">
                        <c:v>38340.875</c:v>
                      </c:pt>
                      <c:pt idx="40">
                        <c:v>38341</c:v>
                      </c:pt>
                      <c:pt idx="41">
                        <c:v>38341.125</c:v>
                      </c:pt>
                      <c:pt idx="42">
                        <c:v>38341.25</c:v>
                      </c:pt>
                      <c:pt idx="43">
                        <c:v>38341.375</c:v>
                      </c:pt>
                      <c:pt idx="44">
                        <c:v>38341.5</c:v>
                      </c:pt>
                      <c:pt idx="45">
                        <c:v>38341.625</c:v>
                      </c:pt>
                      <c:pt idx="46">
                        <c:v>38341.75</c:v>
                      </c:pt>
                      <c:pt idx="47">
                        <c:v>38341.875</c:v>
                      </c:pt>
                      <c:pt idx="48">
                        <c:v>38342</c:v>
                      </c:pt>
                      <c:pt idx="49">
                        <c:v>38342.125</c:v>
                      </c:pt>
                      <c:pt idx="50">
                        <c:v>38342.25</c:v>
                      </c:pt>
                      <c:pt idx="51">
                        <c:v>38342.375</c:v>
                      </c:pt>
                      <c:pt idx="52">
                        <c:v>38342.5</c:v>
                      </c:pt>
                      <c:pt idx="53">
                        <c:v>38342.625</c:v>
                      </c:pt>
                      <c:pt idx="54">
                        <c:v>38342.75</c:v>
                      </c:pt>
                      <c:pt idx="55">
                        <c:v>38342.875</c:v>
                      </c:pt>
                      <c:pt idx="56">
                        <c:v>38343</c:v>
                      </c:pt>
                      <c:pt idx="57">
                        <c:v>38343.125</c:v>
                      </c:pt>
                      <c:pt idx="58">
                        <c:v>38343.25</c:v>
                      </c:pt>
                      <c:pt idx="59">
                        <c:v>38343.375</c:v>
                      </c:pt>
                      <c:pt idx="60">
                        <c:v>38343.5</c:v>
                      </c:pt>
                      <c:pt idx="61">
                        <c:v>38343.625</c:v>
                      </c:pt>
                      <c:pt idx="62">
                        <c:v>38343.75</c:v>
                      </c:pt>
                      <c:pt idx="63">
                        <c:v>38343.875</c:v>
                      </c:pt>
                      <c:pt idx="64">
                        <c:v>38344</c:v>
                      </c:pt>
                      <c:pt idx="65">
                        <c:v>38344.125</c:v>
                      </c:pt>
                      <c:pt idx="66">
                        <c:v>38344.25</c:v>
                      </c:pt>
                      <c:pt idx="67">
                        <c:v>38344.375</c:v>
                      </c:pt>
                      <c:pt idx="68">
                        <c:v>38344.5</c:v>
                      </c:pt>
                      <c:pt idx="69">
                        <c:v>38344.625</c:v>
                      </c:pt>
                      <c:pt idx="70">
                        <c:v>38344.75</c:v>
                      </c:pt>
                      <c:pt idx="71">
                        <c:v>38344.875</c:v>
                      </c:pt>
                      <c:pt idx="72">
                        <c:v>38345</c:v>
                      </c:pt>
                      <c:pt idx="73">
                        <c:v>38345.125</c:v>
                      </c:pt>
                      <c:pt idx="74">
                        <c:v>38345.25</c:v>
                      </c:pt>
                      <c:pt idx="75">
                        <c:v>38345.375</c:v>
                      </c:pt>
                      <c:pt idx="76">
                        <c:v>38345.5</c:v>
                      </c:pt>
                      <c:pt idx="77">
                        <c:v>38345.625</c:v>
                      </c:pt>
                      <c:pt idx="78">
                        <c:v>38345.75</c:v>
                      </c:pt>
                      <c:pt idx="79">
                        <c:v>38345.875</c:v>
                      </c:pt>
                      <c:pt idx="80">
                        <c:v>38346</c:v>
                      </c:pt>
                      <c:pt idx="81">
                        <c:v>38346.125</c:v>
                      </c:pt>
                      <c:pt idx="82">
                        <c:v>38346.25</c:v>
                      </c:pt>
                      <c:pt idx="83">
                        <c:v>38346.375</c:v>
                      </c:pt>
                      <c:pt idx="84">
                        <c:v>38346.5</c:v>
                      </c:pt>
                      <c:pt idx="85">
                        <c:v>38346.625</c:v>
                      </c:pt>
                      <c:pt idx="86">
                        <c:v>38346.75</c:v>
                      </c:pt>
                      <c:pt idx="87">
                        <c:v>38346.875</c:v>
                      </c:pt>
                      <c:pt idx="88">
                        <c:v>38347</c:v>
                      </c:pt>
                      <c:pt idx="89">
                        <c:v>38347.125</c:v>
                      </c:pt>
                      <c:pt idx="90">
                        <c:v>38347.25</c:v>
                      </c:pt>
                      <c:pt idx="91">
                        <c:v>38347.375</c:v>
                      </c:pt>
                      <c:pt idx="92">
                        <c:v>38347.5</c:v>
                      </c:pt>
                      <c:pt idx="93">
                        <c:v>38347.625</c:v>
                      </c:pt>
                      <c:pt idx="94">
                        <c:v>38347.75</c:v>
                      </c:pt>
                      <c:pt idx="95">
                        <c:v>38347.875</c:v>
                      </c:pt>
                      <c:pt idx="96">
                        <c:v>38348</c:v>
                      </c:pt>
                      <c:pt idx="97">
                        <c:v>38348.125</c:v>
                      </c:pt>
                      <c:pt idx="98">
                        <c:v>38348.25</c:v>
                      </c:pt>
                      <c:pt idx="99">
                        <c:v>38348.375</c:v>
                      </c:pt>
                      <c:pt idx="100">
                        <c:v>38348.5</c:v>
                      </c:pt>
                      <c:pt idx="101">
                        <c:v>38348.625</c:v>
                      </c:pt>
                      <c:pt idx="102">
                        <c:v>38348.75</c:v>
                      </c:pt>
                      <c:pt idx="103">
                        <c:v>38348.875</c:v>
                      </c:pt>
                      <c:pt idx="104">
                        <c:v>38349</c:v>
                      </c:pt>
                      <c:pt idx="105">
                        <c:v>38349.125</c:v>
                      </c:pt>
                      <c:pt idx="106">
                        <c:v>38349.25</c:v>
                      </c:pt>
                      <c:pt idx="107">
                        <c:v>38349.375</c:v>
                      </c:pt>
                      <c:pt idx="108">
                        <c:v>38349.5</c:v>
                      </c:pt>
                      <c:pt idx="109">
                        <c:v>38349.625</c:v>
                      </c:pt>
                      <c:pt idx="110">
                        <c:v>38349.75</c:v>
                      </c:pt>
                      <c:pt idx="111">
                        <c:v>38349.875</c:v>
                      </c:pt>
                      <c:pt idx="112">
                        <c:v>38350</c:v>
                      </c:pt>
                      <c:pt idx="113">
                        <c:v>38350.125</c:v>
                      </c:pt>
                      <c:pt idx="114">
                        <c:v>38350.25</c:v>
                      </c:pt>
                      <c:pt idx="115">
                        <c:v>38350.375</c:v>
                      </c:pt>
                      <c:pt idx="116">
                        <c:v>38350.5</c:v>
                      </c:pt>
                      <c:pt idx="117">
                        <c:v>38350.625</c:v>
                      </c:pt>
                      <c:pt idx="118">
                        <c:v>38350.75</c:v>
                      </c:pt>
                      <c:pt idx="119">
                        <c:v>38350.875</c:v>
                      </c:pt>
                      <c:pt idx="120">
                        <c:v>38351</c:v>
                      </c:pt>
                      <c:pt idx="121">
                        <c:v>38351.125</c:v>
                      </c:pt>
                      <c:pt idx="122">
                        <c:v>38351.25</c:v>
                      </c:pt>
                      <c:pt idx="123">
                        <c:v>38351.375</c:v>
                      </c:pt>
                      <c:pt idx="124">
                        <c:v>38351.5</c:v>
                      </c:pt>
                      <c:pt idx="125">
                        <c:v>38351.625</c:v>
                      </c:pt>
                      <c:pt idx="126">
                        <c:v>38351.75</c:v>
                      </c:pt>
                      <c:pt idx="127">
                        <c:v>38351.875</c:v>
                      </c:pt>
                      <c:pt idx="128">
                        <c:v>38352</c:v>
                      </c:pt>
                      <c:pt idx="129">
                        <c:v>38352.125</c:v>
                      </c:pt>
                      <c:pt idx="130">
                        <c:v>38352.25</c:v>
                      </c:pt>
                      <c:pt idx="131">
                        <c:v>38352.375</c:v>
                      </c:pt>
                      <c:pt idx="132">
                        <c:v>38352.5</c:v>
                      </c:pt>
                      <c:pt idx="133">
                        <c:v>38352.625</c:v>
                      </c:pt>
                      <c:pt idx="134">
                        <c:v>38352.75</c:v>
                      </c:pt>
                      <c:pt idx="135">
                        <c:v>38352.87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Ταχύτητα ανέμου'!$S$3:$S$138</c15:sqref>
                        </c15:formulaRef>
                      </c:ext>
                    </c:extLst>
                    <c:numCache>
                      <c:formatCode>General</c:formatCode>
                      <c:ptCount val="136"/>
                      <c:pt idx="0">
                        <c:v>-0.21770337667374232</c:v>
                      </c:pt>
                      <c:pt idx="1">
                        <c:v>-0.26581952994869507</c:v>
                      </c:pt>
                      <c:pt idx="2">
                        <c:v>-0.21504862109903675</c:v>
                      </c:pt>
                      <c:pt idx="3">
                        <c:v>-0.13627264906713382</c:v>
                      </c:pt>
                      <c:pt idx="4">
                        <c:v>-0.34250297122366874</c:v>
                      </c:pt>
                      <c:pt idx="5">
                        <c:v>-0.3877088695270281</c:v>
                      </c:pt>
                      <c:pt idx="6">
                        <c:v>-0.4190706906410937</c:v>
                      </c:pt>
                      <c:pt idx="7">
                        <c:v>-0.48613161546947237</c:v>
                      </c:pt>
                      <c:pt idx="8">
                        <c:v>-0.38795285290204251</c:v>
                      </c:pt>
                      <c:pt idx="9">
                        <c:v>-0.3546855211492026</c:v>
                      </c:pt>
                      <c:pt idx="10">
                        <c:v>-0.34577368466411618</c:v>
                      </c:pt>
                      <c:pt idx="11">
                        <c:v>-0.43061895093465785</c:v>
                      </c:pt>
                      <c:pt idx="12">
                        <c:v>-0.44933177601612201</c:v>
                      </c:pt>
                      <c:pt idx="13">
                        <c:v>-0.4780552622075035</c:v>
                      </c:pt>
                      <c:pt idx="14">
                        <c:v>-0.49168061838607052</c:v>
                      </c:pt>
                      <c:pt idx="15">
                        <c:v>-0.49879880671330806</c:v>
                      </c:pt>
                      <c:pt idx="16">
                        <c:v>-0.38795285290204251</c:v>
                      </c:pt>
                      <c:pt idx="17">
                        <c:v>-0.54413820909114119</c:v>
                      </c:pt>
                      <c:pt idx="18">
                        <c:v>-0.3219920652149536</c:v>
                      </c:pt>
                      <c:pt idx="19">
                        <c:v>-0.29820246990970728</c:v>
                      </c:pt>
                      <c:pt idx="20">
                        <c:v>-0.22774600044748375</c:v>
                      </c:pt>
                      <c:pt idx="21">
                        <c:v>-0.10412247828180715</c:v>
                      </c:pt>
                      <c:pt idx="22">
                        <c:v>-0.28898464218426806</c:v>
                      </c:pt>
                      <c:pt idx="23">
                        <c:v>-0.11645669987571995</c:v>
                      </c:pt>
                      <c:pt idx="24">
                        <c:v>-6.8102483653181098E-2</c:v>
                      </c:pt>
                      <c:pt idx="25">
                        <c:v>-0.13998296524149942</c:v>
                      </c:pt>
                      <c:pt idx="26">
                        <c:v>-7.9737458805488159E-2</c:v>
                      </c:pt>
                      <c:pt idx="27">
                        <c:v>4.4407508376846962E-2</c:v>
                      </c:pt>
                      <c:pt idx="28">
                        <c:v>0.13537209977858297</c:v>
                      </c:pt>
                      <c:pt idx="29">
                        <c:v>0.20920131228590386</c:v>
                      </c:pt>
                      <c:pt idx="30">
                        <c:v>0.26298380954372003</c:v>
                      </c:pt>
                      <c:pt idx="31">
                        <c:v>0.16601963219418675</c:v>
                      </c:pt>
                      <c:pt idx="32">
                        <c:v>0.13060650035958304</c:v>
                      </c:pt>
                      <c:pt idx="33">
                        <c:v>0.16229112872341742</c:v>
                      </c:pt>
                      <c:pt idx="34">
                        <c:v>0.21029919428563754</c:v>
                      </c:pt>
                      <c:pt idx="35">
                        <c:v>-3.1192995981028662E-2</c:v>
                      </c:pt>
                      <c:pt idx="36">
                        <c:v>0.14066174500005535</c:v>
                      </c:pt>
                      <c:pt idx="37">
                        <c:v>9.1672457073878388E-2</c:v>
                      </c:pt>
                      <c:pt idx="38">
                        <c:v>0.17407963763820075</c:v>
                      </c:pt>
                      <c:pt idx="39">
                        <c:v>-0.15456689244154684</c:v>
                      </c:pt>
                      <c:pt idx="40">
                        <c:v>-0.28701824788306207</c:v>
                      </c:pt>
                      <c:pt idx="41">
                        <c:v>-0.4365033740468921</c:v>
                      </c:pt>
                      <c:pt idx="42">
                        <c:v>-0.41522049707744457</c:v>
                      </c:pt>
                      <c:pt idx="43">
                        <c:v>-0.52048666888798722</c:v>
                      </c:pt>
                      <c:pt idx="44">
                        <c:v>-0.50374699947238089</c:v>
                      </c:pt>
                      <c:pt idx="45">
                        <c:v>-0.47437248500816004</c:v>
                      </c:pt>
                      <c:pt idx="46">
                        <c:v>-0.47486033586779947</c:v>
                      </c:pt>
                      <c:pt idx="47">
                        <c:v>-0.47854094806251996</c:v>
                      </c:pt>
                      <c:pt idx="48">
                        <c:v>-0.51205609747316061</c:v>
                      </c:pt>
                      <c:pt idx="49">
                        <c:v>-0.56652174975695813</c:v>
                      </c:pt>
                      <c:pt idx="50">
                        <c:v>-0.58960678513736442</c:v>
                      </c:pt>
                      <c:pt idx="51">
                        <c:v>-0.56983772485463668</c:v>
                      </c:pt>
                      <c:pt idx="52">
                        <c:v>-0.54720251390101149</c:v>
                      </c:pt>
                      <c:pt idx="53">
                        <c:v>-0.51535503954909445</c:v>
                      </c:pt>
                      <c:pt idx="54">
                        <c:v>-0.48672886680742761</c:v>
                      </c:pt>
                      <c:pt idx="55">
                        <c:v>-0.48666693942630274</c:v>
                      </c:pt>
                      <c:pt idx="56">
                        <c:v>-0.36568494885092429</c:v>
                      </c:pt>
                      <c:pt idx="57">
                        <c:v>-0.37066604697004346</c:v>
                      </c:pt>
                      <c:pt idx="58">
                        <c:v>-0.50337331911671446</c:v>
                      </c:pt>
                      <c:pt idx="59">
                        <c:v>-0.34239223593767187</c:v>
                      </c:pt>
                      <c:pt idx="60">
                        <c:v>-0.18875110995886954</c:v>
                      </c:pt>
                      <c:pt idx="61">
                        <c:v>-7.3448584190482252E-2</c:v>
                      </c:pt>
                      <c:pt idx="62">
                        <c:v>2.1089983929285863E-3</c:v>
                      </c:pt>
                      <c:pt idx="63">
                        <c:v>-6.3938967905006111E-2</c:v>
                      </c:pt>
                      <c:pt idx="64">
                        <c:v>-5.3250840128223988E-2</c:v>
                      </c:pt>
                      <c:pt idx="65">
                        <c:v>-0.20756917878791334</c:v>
                      </c:pt>
                      <c:pt idx="66">
                        <c:v>-0.2235561127942135</c:v>
                      </c:pt>
                      <c:pt idx="67">
                        <c:v>-0.39261793445178989</c:v>
                      </c:pt>
                      <c:pt idx="68">
                        <c:v>-0.28769984671608423</c:v>
                      </c:pt>
                      <c:pt idx="69">
                        <c:v>-0.17794954849966355</c:v>
                      </c:pt>
                      <c:pt idx="70">
                        <c:v>-0.36782037825531</c:v>
                      </c:pt>
                      <c:pt idx="71">
                        <c:v>-0.37870373972640869</c:v>
                      </c:pt>
                      <c:pt idx="72">
                        <c:v>-0.44841043623060084</c:v>
                      </c:pt>
                      <c:pt idx="73">
                        <c:v>-0.42259318141999058</c:v>
                      </c:pt>
                      <c:pt idx="74">
                        <c:v>-0.56292118257797708</c:v>
                      </c:pt>
                      <c:pt idx="75">
                        <c:v>-0.38678005553705136</c:v>
                      </c:pt>
                      <c:pt idx="76">
                        <c:v>-0.4638653875452784</c:v>
                      </c:pt>
                      <c:pt idx="77">
                        <c:v>-0.32100879860284331</c:v>
                      </c:pt>
                      <c:pt idx="78">
                        <c:v>-0.24864263097040096</c:v>
                      </c:pt>
                      <c:pt idx="79">
                        <c:v>-0.37819715342589777</c:v>
                      </c:pt>
                      <c:pt idx="80">
                        <c:v>-0.22960877027043025</c:v>
                      </c:pt>
                      <c:pt idx="81">
                        <c:v>-0.22134833866973463</c:v>
                      </c:pt>
                      <c:pt idx="82">
                        <c:v>-0.21556256040306565</c:v>
                      </c:pt>
                      <c:pt idx="83">
                        <c:v>-0.36784630961738973</c:v>
                      </c:pt>
                      <c:pt idx="84">
                        <c:v>-0.39608712664962037</c:v>
                      </c:pt>
                      <c:pt idx="85">
                        <c:v>-0.43789746917823291</c:v>
                      </c:pt>
                      <c:pt idx="86">
                        <c:v>-0.48298270494886469</c:v>
                      </c:pt>
                      <c:pt idx="87">
                        <c:v>-0.49826169870902071</c:v>
                      </c:pt>
                      <c:pt idx="88">
                        <c:v>-0.52643110043314145</c:v>
                      </c:pt>
                      <c:pt idx="89">
                        <c:v>-0.58519858407077341</c:v>
                      </c:pt>
                      <c:pt idx="90">
                        <c:v>-0.61237185645325631</c:v>
                      </c:pt>
                      <c:pt idx="91">
                        <c:v>-0.58963172403507513</c:v>
                      </c:pt>
                      <c:pt idx="92">
                        <c:v>-0.41176666719101296</c:v>
                      </c:pt>
                      <c:pt idx="93">
                        <c:v>-0.48955589894274315</c:v>
                      </c:pt>
                      <c:pt idx="94">
                        <c:v>-0.22582491454491313</c:v>
                      </c:pt>
                      <c:pt idx="95">
                        <c:v>-2.8326528088200478E-2</c:v>
                      </c:pt>
                      <c:pt idx="96">
                        <c:v>-0.11206801927759077</c:v>
                      </c:pt>
                      <c:pt idx="97">
                        <c:v>-2.3944738462001233E-2</c:v>
                      </c:pt>
                      <c:pt idx="98">
                        <c:v>-6.9279745434844484E-2</c:v>
                      </c:pt>
                      <c:pt idx="99">
                        <c:v>-4.6661529595143282E-2</c:v>
                      </c:pt>
                      <c:pt idx="100">
                        <c:v>-8.8796442190192358E-3</c:v>
                      </c:pt>
                      <c:pt idx="101">
                        <c:v>6.1941071762887302E-2</c:v>
                      </c:pt>
                      <c:pt idx="102">
                        <c:v>0.1375225684511229</c:v>
                      </c:pt>
                      <c:pt idx="103">
                        <c:v>8.4614574807232779E-2</c:v>
                      </c:pt>
                      <c:pt idx="104">
                        <c:v>0.12116063942894326</c:v>
                      </c:pt>
                      <c:pt idx="105">
                        <c:v>0.11762055478217538</c:v>
                      </c:pt>
                      <c:pt idx="106">
                        <c:v>-3.1602949231720703E-2</c:v>
                      </c:pt>
                      <c:pt idx="107">
                        <c:v>-7.428798500168339E-2</c:v>
                      </c:pt>
                      <c:pt idx="108">
                        <c:v>-0.1308414213721073</c:v>
                      </c:pt>
                      <c:pt idx="109">
                        <c:v>-0.3289742704642753</c:v>
                      </c:pt>
                      <c:pt idx="110">
                        <c:v>-0.18787387815923284</c:v>
                      </c:pt>
                      <c:pt idx="111">
                        <c:v>-0.10306445432887359</c:v>
                      </c:pt>
                      <c:pt idx="112">
                        <c:v>-0.14815288253733408</c:v>
                      </c:pt>
                      <c:pt idx="113">
                        <c:v>-6.2174771906156646E-2</c:v>
                      </c:pt>
                      <c:pt idx="114">
                        <c:v>-0.16287221083333525</c:v>
                      </c:pt>
                      <c:pt idx="115">
                        <c:v>-0.17825434636588172</c:v>
                      </c:pt>
                      <c:pt idx="116">
                        <c:v>-0.14407868565095888</c:v>
                      </c:pt>
                      <c:pt idx="117">
                        <c:v>-6.0801616634000563E-2</c:v>
                      </c:pt>
                      <c:pt idx="118">
                        <c:v>2.808566656271002E-2</c:v>
                      </c:pt>
                      <c:pt idx="119">
                        <c:v>0.12081242522568091</c:v>
                      </c:pt>
                      <c:pt idx="120">
                        <c:v>0.17337240037179258</c:v>
                      </c:pt>
                      <c:pt idx="121">
                        <c:v>-6.7210337656059604E-2</c:v>
                      </c:pt>
                      <c:pt idx="122">
                        <c:v>-0.28760345358058043</c:v>
                      </c:pt>
                      <c:pt idx="123">
                        <c:v>-0.37035026210321015</c:v>
                      </c:pt>
                      <c:pt idx="124">
                        <c:v>-0.46811270964242585</c:v>
                      </c:pt>
                      <c:pt idx="125">
                        <c:v>-0.51221689187499497</c:v>
                      </c:pt>
                      <c:pt idx="126">
                        <c:v>-0.49430239312566654</c:v>
                      </c:pt>
                      <c:pt idx="127">
                        <c:v>-0.49248370018965271</c:v>
                      </c:pt>
                      <c:pt idx="128">
                        <c:v>-0.15463121091274973</c:v>
                      </c:pt>
                      <c:pt idx="129">
                        <c:v>-0.46430466796238051</c:v>
                      </c:pt>
                      <c:pt idx="130">
                        <c:v>-0.12269222230415205</c:v>
                      </c:pt>
                      <c:pt idx="131">
                        <c:v>-0.10664021183787276</c:v>
                      </c:pt>
                      <c:pt idx="132">
                        <c:v>-0.14650919541941793</c:v>
                      </c:pt>
                      <c:pt idx="133">
                        <c:v>-0.27966266673291595</c:v>
                      </c:pt>
                      <c:pt idx="134">
                        <c:v>-0.10525843134110546</c:v>
                      </c:pt>
                      <c:pt idx="135">
                        <c:v>-0.1824861645909773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502C-40F9-8CCC-4CDA04848AD2}"/>
                  </c:ext>
                </c:extLst>
              </c15:ser>
            </c15:filteredScatterSeries>
            <c15:filteredScatte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Ταχύτητα ανέμου'!$T$2</c15:sqref>
                        </c15:formulaRef>
                      </c:ext>
                    </c:extLst>
                    <c:strCache>
                      <c:ptCount val="1"/>
                      <c:pt idx="0">
                        <c:v>18ωρη πρόγνωση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Ταχύτητα ανέμου'!$M$3:$M$138</c15:sqref>
                        </c15:formulaRef>
                      </c:ext>
                    </c:extLst>
                    <c:numCache>
                      <c:formatCode>d/m/yy\ h:mm;@</c:formatCode>
                      <c:ptCount val="136"/>
                      <c:pt idx="0">
                        <c:v>38336</c:v>
                      </c:pt>
                      <c:pt idx="1">
                        <c:v>38336.125</c:v>
                      </c:pt>
                      <c:pt idx="2">
                        <c:v>38336.25</c:v>
                      </c:pt>
                      <c:pt idx="3">
                        <c:v>38336.375</c:v>
                      </c:pt>
                      <c:pt idx="4">
                        <c:v>38336.5</c:v>
                      </c:pt>
                      <c:pt idx="5">
                        <c:v>38336.625</c:v>
                      </c:pt>
                      <c:pt idx="6">
                        <c:v>38336.75</c:v>
                      </c:pt>
                      <c:pt idx="7">
                        <c:v>38336.875</c:v>
                      </c:pt>
                      <c:pt idx="8">
                        <c:v>38337</c:v>
                      </c:pt>
                      <c:pt idx="9">
                        <c:v>38337.125</c:v>
                      </c:pt>
                      <c:pt idx="10">
                        <c:v>38337.25</c:v>
                      </c:pt>
                      <c:pt idx="11">
                        <c:v>38337.375</c:v>
                      </c:pt>
                      <c:pt idx="12">
                        <c:v>38337.5</c:v>
                      </c:pt>
                      <c:pt idx="13">
                        <c:v>38337.625</c:v>
                      </c:pt>
                      <c:pt idx="14">
                        <c:v>38337.75</c:v>
                      </c:pt>
                      <c:pt idx="15">
                        <c:v>38337.875</c:v>
                      </c:pt>
                      <c:pt idx="16">
                        <c:v>38338</c:v>
                      </c:pt>
                      <c:pt idx="17">
                        <c:v>38338.125</c:v>
                      </c:pt>
                      <c:pt idx="18">
                        <c:v>38338.25</c:v>
                      </c:pt>
                      <c:pt idx="19">
                        <c:v>38338.375</c:v>
                      </c:pt>
                      <c:pt idx="20">
                        <c:v>38338.5</c:v>
                      </c:pt>
                      <c:pt idx="21">
                        <c:v>38338.625</c:v>
                      </c:pt>
                      <c:pt idx="22">
                        <c:v>38338.75</c:v>
                      </c:pt>
                      <c:pt idx="23">
                        <c:v>38338.875</c:v>
                      </c:pt>
                      <c:pt idx="24">
                        <c:v>38339</c:v>
                      </c:pt>
                      <c:pt idx="25">
                        <c:v>38339.125</c:v>
                      </c:pt>
                      <c:pt idx="26">
                        <c:v>38339.25</c:v>
                      </c:pt>
                      <c:pt idx="27">
                        <c:v>38339.375</c:v>
                      </c:pt>
                      <c:pt idx="28">
                        <c:v>38339.5</c:v>
                      </c:pt>
                      <c:pt idx="29">
                        <c:v>38339.625</c:v>
                      </c:pt>
                      <c:pt idx="30">
                        <c:v>38339.75</c:v>
                      </c:pt>
                      <c:pt idx="31">
                        <c:v>38339.875</c:v>
                      </c:pt>
                      <c:pt idx="32">
                        <c:v>38340</c:v>
                      </c:pt>
                      <c:pt idx="33">
                        <c:v>38340.125</c:v>
                      </c:pt>
                      <c:pt idx="34">
                        <c:v>38340.25</c:v>
                      </c:pt>
                      <c:pt idx="35">
                        <c:v>38340.375</c:v>
                      </c:pt>
                      <c:pt idx="36">
                        <c:v>38340.5</c:v>
                      </c:pt>
                      <c:pt idx="37">
                        <c:v>38340.625</c:v>
                      </c:pt>
                      <c:pt idx="38">
                        <c:v>38340.75</c:v>
                      </c:pt>
                      <c:pt idx="39">
                        <c:v>38340.875</c:v>
                      </c:pt>
                      <c:pt idx="40">
                        <c:v>38341</c:v>
                      </c:pt>
                      <c:pt idx="41">
                        <c:v>38341.125</c:v>
                      </c:pt>
                      <c:pt idx="42">
                        <c:v>38341.25</c:v>
                      </c:pt>
                      <c:pt idx="43">
                        <c:v>38341.375</c:v>
                      </c:pt>
                      <c:pt idx="44">
                        <c:v>38341.5</c:v>
                      </c:pt>
                      <c:pt idx="45">
                        <c:v>38341.625</c:v>
                      </c:pt>
                      <c:pt idx="46">
                        <c:v>38341.75</c:v>
                      </c:pt>
                      <c:pt idx="47">
                        <c:v>38341.875</c:v>
                      </c:pt>
                      <c:pt idx="48">
                        <c:v>38342</c:v>
                      </c:pt>
                      <c:pt idx="49">
                        <c:v>38342.125</c:v>
                      </c:pt>
                      <c:pt idx="50">
                        <c:v>38342.25</c:v>
                      </c:pt>
                      <c:pt idx="51">
                        <c:v>38342.375</c:v>
                      </c:pt>
                      <c:pt idx="52">
                        <c:v>38342.5</c:v>
                      </c:pt>
                      <c:pt idx="53">
                        <c:v>38342.625</c:v>
                      </c:pt>
                      <c:pt idx="54">
                        <c:v>38342.75</c:v>
                      </c:pt>
                      <c:pt idx="55">
                        <c:v>38342.875</c:v>
                      </c:pt>
                      <c:pt idx="56">
                        <c:v>38343</c:v>
                      </c:pt>
                      <c:pt idx="57">
                        <c:v>38343.125</c:v>
                      </c:pt>
                      <c:pt idx="58">
                        <c:v>38343.25</c:v>
                      </c:pt>
                      <c:pt idx="59">
                        <c:v>38343.375</c:v>
                      </c:pt>
                      <c:pt idx="60">
                        <c:v>38343.5</c:v>
                      </c:pt>
                      <c:pt idx="61">
                        <c:v>38343.625</c:v>
                      </c:pt>
                      <c:pt idx="62">
                        <c:v>38343.75</c:v>
                      </c:pt>
                      <c:pt idx="63">
                        <c:v>38343.875</c:v>
                      </c:pt>
                      <c:pt idx="64">
                        <c:v>38344</c:v>
                      </c:pt>
                      <c:pt idx="65">
                        <c:v>38344.125</c:v>
                      </c:pt>
                      <c:pt idx="66">
                        <c:v>38344.25</c:v>
                      </c:pt>
                      <c:pt idx="67">
                        <c:v>38344.375</c:v>
                      </c:pt>
                      <c:pt idx="68">
                        <c:v>38344.5</c:v>
                      </c:pt>
                      <c:pt idx="69">
                        <c:v>38344.625</c:v>
                      </c:pt>
                      <c:pt idx="70">
                        <c:v>38344.75</c:v>
                      </c:pt>
                      <c:pt idx="71">
                        <c:v>38344.875</c:v>
                      </c:pt>
                      <c:pt idx="72">
                        <c:v>38345</c:v>
                      </c:pt>
                      <c:pt idx="73">
                        <c:v>38345.125</c:v>
                      </c:pt>
                      <c:pt idx="74">
                        <c:v>38345.25</c:v>
                      </c:pt>
                      <c:pt idx="75">
                        <c:v>38345.375</c:v>
                      </c:pt>
                      <c:pt idx="76">
                        <c:v>38345.5</c:v>
                      </c:pt>
                      <c:pt idx="77">
                        <c:v>38345.625</c:v>
                      </c:pt>
                      <c:pt idx="78">
                        <c:v>38345.75</c:v>
                      </c:pt>
                      <c:pt idx="79">
                        <c:v>38345.875</c:v>
                      </c:pt>
                      <c:pt idx="80">
                        <c:v>38346</c:v>
                      </c:pt>
                      <c:pt idx="81">
                        <c:v>38346.125</c:v>
                      </c:pt>
                      <c:pt idx="82">
                        <c:v>38346.25</c:v>
                      </c:pt>
                      <c:pt idx="83">
                        <c:v>38346.375</c:v>
                      </c:pt>
                      <c:pt idx="84">
                        <c:v>38346.5</c:v>
                      </c:pt>
                      <c:pt idx="85">
                        <c:v>38346.625</c:v>
                      </c:pt>
                      <c:pt idx="86">
                        <c:v>38346.75</c:v>
                      </c:pt>
                      <c:pt idx="87">
                        <c:v>38346.875</c:v>
                      </c:pt>
                      <c:pt idx="88">
                        <c:v>38347</c:v>
                      </c:pt>
                      <c:pt idx="89">
                        <c:v>38347.125</c:v>
                      </c:pt>
                      <c:pt idx="90">
                        <c:v>38347.25</c:v>
                      </c:pt>
                      <c:pt idx="91">
                        <c:v>38347.375</c:v>
                      </c:pt>
                      <c:pt idx="92">
                        <c:v>38347.5</c:v>
                      </c:pt>
                      <c:pt idx="93">
                        <c:v>38347.625</c:v>
                      </c:pt>
                      <c:pt idx="94">
                        <c:v>38347.75</c:v>
                      </c:pt>
                      <c:pt idx="95">
                        <c:v>38347.875</c:v>
                      </c:pt>
                      <c:pt idx="96">
                        <c:v>38348</c:v>
                      </c:pt>
                      <c:pt idx="97">
                        <c:v>38348.125</c:v>
                      </c:pt>
                      <c:pt idx="98">
                        <c:v>38348.25</c:v>
                      </c:pt>
                      <c:pt idx="99">
                        <c:v>38348.375</c:v>
                      </c:pt>
                      <c:pt idx="100">
                        <c:v>38348.5</c:v>
                      </c:pt>
                      <c:pt idx="101">
                        <c:v>38348.625</c:v>
                      </c:pt>
                      <c:pt idx="102">
                        <c:v>38348.75</c:v>
                      </c:pt>
                      <c:pt idx="103">
                        <c:v>38348.875</c:v>
                      </c:pt>
                      <c:pt idx="104">
                        <c:v>38349</c:v>
                      </c:pt>
                      <c:pt idx="105">
                        <c:v>38349.125</c:v>
                      </c:pt>
                      <c:pt idx="106">
                        <c:v>38349.25</c:v>
                      </c:pt>
                      <c:pt idx="107">
                        <c:v>38349.375</c:v>
                      </c:pt>
                      <c:pt idx="108">
                        <c:v>38349.5</c:v>
                      </c:pt>
                      <c:pt idx="109">
                        <c:v>38349.625</c:v>
                      </c:pt>
                      <c:pt idx="110">
                        <c:v>38349.75</c:v>
                      </c:pt>
                      <c:pt idx="111">
                        <c:v>38349.875</c:v>
                      </c:pt>
                      <c:pt idx="112">
                        <c:v>38350</c:v>
                      </c:pt>
                      <c:pt idx="113">
                        <c:v>38350.125</c:v>
                      </c:pt>
                      <c:pt idx="114">
                        <c:v>38350.25</c:v>
                      </c:pt>
                      <c:pt idx="115">
                        <c:v>38350.375</c:v>
                      </c:pt>
                      <c:pt idx="116">
                        <c:v>38350.5</c:v>
                      </c:pt>
                      <c:pt idx="117">
                        <c:v>38350.625</c:v>
                      </c:pt>
                      <c:pt idx="118">
                        <c:v>38350.75</c:v>
                      </c:pt>
                      <c:pt idx="119">
                        <c:v>38350.875</c:v>
                      </c:pt>
                      <c:pt idx="120">
                        <c:v>38351</c:v>
                      </c:pt>
                      <c:pt idx="121">
                        <c:v>38351.125</c:v>
                      </c:pt>
                      <c:pt idx="122">
                        <c:v>38351.25</c:v>
                      </c:pt>
                      <c:pt idx="123">
                        <c:v>38351.375</c:v>
                      </c:pt>
                      <c:pt idx="124">
                        <c:v>38351.5</c:v>
                      </c:pt>
                      <c:pt idx="125">
                        <c:v>38351.625</c:v>
                      </c:pt>
                      <c:pt idx="126">
                        <c:v>38351.75</c:v>
                      </c:pt>
                      <c:pt idx="127">
                        <c:v>38351.875</c:v>
                      </c:pt>
                      <c:pt idx="128">
                        <c:v>38352</c:v>
                      </c:pt>
                      <c:pt idx="129">
                        <c:v>38352.125</c:v>
                      </c:pt>
                      <c:pt idx="130">
                        <c:v>38352.25</c:v>
                      </c:pt>
                      <c:pt idx="131">
                        <c:v>38352.375</c:v>
                      </c:pt>
                      <c:pt idx="132">
                        <c:v>38352.5</c:v>
                      </c:pt>
                      <c:pt idx="133">
                        <c:v>38352.625</c:v>
                      </c:pt>
                      <c:pt idx="134">
                        <c:v>38352.75</c:v>
                      </c:pt>
                      <c:pt idx="135">
                        <c:v>38352.87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Ταχύτητα ανέμου'!$T$3:$T$138</c15:sqref>
                        </c15:formulaRef>
                      </c:ext>
                    </c:extLst>
                    <c:numCache>
                      <c:formatCode>General</c:formatCode>
                      <c:ptCount val="136"/>
                      <c:pt idx="0">
                        <c:v>-0.30056651689601144</c:v>
                      </c:pt>
                      <c:pt idx="1">
                        <c:v>-0.17948558372822024</c:v>
                      </c:pt>
                      <c:pt idx="2">
                        <c:v>-0.19715882264734022</c:v>
                      </c:pt>
                      <c:pt idx="3">
                        <c:v>-0.18395154219007692</c:v>
                      </c:pt>
                      <c:pt idx="4">
                        <c:v>-0.14006679507730679</c:v>
                      </c:pt>
                      <c:pt idx="5">
                        <c:v>-0.3006189329889552</c:v>
                      </c:pt>
                      <c:pt idx="6">
                        <c:v>-0.35587350427534037</c:v>
                      </c:pt>
                      <c:pt idx="7">
                        <c:v>-0.41334042398644744</c:v>
                      </c:pt>
                      <c:pt idx="8">
                        <c:v>-0.44101498980342491</c:v>
                      </c:pt>
                      <c:pt idx="9">
                        <c:v>-0.34714937113368027</c:v>
                      </c:pt>
                      <c:pt idx="10">
                        <c:v>-0.30767737949738216</c:v>
                      </c:pt>
                      <c:pt idx="11">
                        <c:v>-0.28752315986261179</c:v>
                      </c:pt>
                      <c:pt idx="12">
                        <c:v>-0.3826835581089667</c:v>
                      </c:pt>
                      <c:pt idx="13">
                        <c:v>-0.41925454282596331</c:v>
                      </c:pt>
                      <c:pt idx="14">
                        <c:v>-0.44495680786004022</c:v>
                      </c:pt>
                      <c:pt idx="15">
                        <c:v>-0.43780929247113654</c:v>
                      </c:pt>
                      <c:pt idx="16">
                        <c:v>-0.44425306716864849</c:v>
                      </c:pt>
                      <c:pt idx="17">
                        <c:v>-0.34683130158531172</c:v>
                      </c:pt>
                      <c:pt idx="18">
                        <c:v>-0.4678622795415911</c:v>
                      </c:pt>
                      <c:pt idx="19">
                        <c:v>-0.28288995966697883</c:v>
                      </c:pt>
                      <c:pt idx="20">
                        <c:v>-0.27529846160056781</c:v>
                      </c:pt>
                      <c:pt idx="21">
                        <c:v>-0.16718967203229371</c:v>
                      </c:pt>
                      <c:pt idx="22">
                        <c:v>-8.1693273589725418E-2</c:v>
                      </c:pt>
                      <c:pt idx="23">
                        <c:v>-0.2401542737705224</c:v>
                      </c:pt>
                      <c:pt idx="24">
                        <c:v>-0.12417392805353016</c:v>
                      </c:pt>
                      <c:pt idx="25">
                        <c:v>-8.6975500473867692E-2</c:v>
                      </c:pt>
                      <c:pt idx="26">
                        <c:v>-8.6680533369202895E-2</c:v>
                      </c:pt>
                      <c:pt idx="27">
                        <c:v>-6.1008623721302668E-2</c:v>
                      </c:pt>
                      <c:pt idx="28">
                        <c:v>2.5531212433151894E-2</c:v>
                      </c:pt>
                      <c:pt idx="29">
                        <c:v>0.1289035856441838</c:v>
                      </c:pt>
                      <c:pt idx="30">
                        <c:v>0.21187191703074751</c:v>
                      </c:pt>
                      <c:pt idx="31">
                        <c:v>0.25061106564779828</c:v>
                      </c:pt>
                      <c:pt idx="32">
                        <c:v>0.15396619547951734</c:v>
                      </c:pt>
                      <c:pt idx="33">
                        <c:v>9.9583553267903233E-2</c:v>
                      </c:pt>
                      <c:pt idx="34">
                        <c:v>0.11198352653361938</c:v>
                      </c:pt>
                      <c:pt idx="35">
                        <c:v>0.18562693028265395</c:v>
                      </c:pt>
                      <c:pt idx="36">
                        <c:v>-4.2838196468498041E-3</c:v>
                      </c:pt>
                      <c:pt idx="37">
                        <c:v>0.10910928335248457</c:v>
                      </c:pt>
                      <c:pt idx="38">
                        <c:v>5.3277058376334785E-2</c:v>
                      </c:pt>
                      <c:pt idx="39">
                        <c:v>0.1784484327980897</c:v>
                      </c:pt>
                      <c:pt idx="40">
                        <c:v>-0.11902809028032814</c:v>
                      </c:pt>
                      <c:pt idx="41">
                        <c:v>-0.27973850801002476</c:v>
                      </c:pt>
                      <c:pt idx="42">
                        <c:v>-0.47139359668071501</c:v>
                      </c:pt>
                      <c:pt idx="43">
                        <c:v>-0.3984488734225814</c:v>
                      </c:pt>
                      <c:pt idx="44">
                        <c:v>-0.45412138344731834</c:v>
                      </c:pt>
                      <c:pt idx="45">
                        <c:v>-0.42641050239048628</c:v>
                      </c:pt>
                      <c:pt idx="46">
                        <c:v>-0.43088724115316296</c:v>
                      </c:pt>
                      <c:pt idx="47">
                        <c:v>-0.41693479826422186</c:v>
                      </c:pt>
                      <c:pt idx="48">
                        <c:v>-0.41709453903929317</c:v>
                      </c:pt>
                      <c:pt idx="49">
                        <c:v>-0.45062362945300116</c:v>
                      </c:pt>
                      <c:pt idx="50">
                        <c:v>-0.51032092624684466</c:v>
                      </c:pt>
                      <c:pt idx="51">
                        <c:v>-0.53927535626499212</c:v>
                      </c:pt>
                      <c:pt idx="52">
                        <c:v>-0.51378987687858602</c:v>
                      </c:pt>
                      <c:pt idx="53">
                        <c:v>-0.47652003969429146</c:v>
                      </c:pt>
                      <c:pt idx="54">
                        <c:v>-0.44878022946983548</c:v>
                      </c:pt>
                      <c:pt idx="55">
                        <c:v>-0.42616643576198687</c:v>
                      </c:pt>
                      <c:pt idx="56">
                        <c:v>-0.42346644326061239</c:v>
                      </c:pt>
                      <c:pt idx="57">
                        <c:v>-0.32362788722221136</c:v>
                      </c:pt>
                      <c:pt idx="58">
                        <c:v>-0.32561765411732591</c:v>
                      </c:pt>
                      <c:pt idx="59">
                        <c:v>-0.43792764842336218</c:v>
                      </c:pt>
                      <c:pt idx="60">
                        <c:v>-0.33028793832691361</c:v>
                      </c:pt>
                      <c:pt idx="61">
                        <c:v>-0.18120256510991423</c:v>
                      </c:pt>
                      <c:pt idx="62">
                        <c:v>-1.6835766382393147E-2</c:v>
                      </c:pt>
                      <c:pt idx="63">
                        <c:v>4.35565500506091E-2</c:v>
                      </c:pt>
                      <c:pt idx="64">
                        <c:v>-4.224693087506444E-2</c:v>
                      </c:pt>
                      <c:pt idx="65">
                        <c:v>-6.9830464917880836E-2</c:v>
                      </c:pt>
                      <c:pt idx="66">
                        <c:v>-0.21078088821518343</c:v>
                      </c:pt>
                      <c:pt idx="67">
                        <c:v>-0.21487107690150253</c:v>
                      </c:pt>
                      <c:pt idx="68">
                        <c:v>-0.36836405357638041</c:v>
                      </c:pt>
                      <c:pt idx="69">
                        <c:v>-0.27210477303306679</c:v>
                      </c:pt>
                      <c:pt idx="70">
                        <c:v>-0.17228680312275158</c:v>
                      </c:pt>
                      <c:pt idx="71">
                        <c:v>-0.28418545424999447</c:v>
                      </c:pt>
                      <c:pt idx="72">
                        <c:v>-0.33382088994081799</c:v>
                      </c:pt>
                      <c:pt idx="73">
                        <c:v>-0.44549136478095197</c:v>
                      </c:pt>
                      <c:pt idx="74">
                        <c:v>-0.39768343337678258</c:v>
                      </c:pt>
                      <c:pt idx="75">
                        <c:v>-0.49421869336495106</c:v>
                      </c:pt>
                      <c:pt idx="76">
                        <c:v>-0.34029642203720639</c:v>
                      </c:pt>
                      <c:pt idx="77">
                        <c:v>-0.41958398219519277</c:v>
                      </c:pt>
                      <c:pt idx="78">
                        <c:v>-0.26686212966516737</c:v>
                      </c:pt>
                      <c:pt idx="79">
                        <c:v>-0.2139832485814849</c:v>
                      </c:pt>
                      <c:pt idx="80">
                        <c:v>-0.29811283998430721</c:v>
                      </c:pt>
                      <c:pt idx="81">
                        <c:v>-0.21400526597047057</c:v>
                      </c:pt>
                      <c:pt idx="82">
                        <c:v>-0.21994009580723267</c:v>
                      </c:pt>
                      <c:pt idx="83">
                        <c:v>-0.17117387911422707</c:v>
                      </c:pt>
                      <c:pt idx="84">
                        <c:v>-0.31718703423490224</c:v>
                      </c:pt>
                      <c:pt idx="85">
                        <c:v>-0.37092339145852127</c:v>
                      </c:pt>
                      <c:pt idx="86">
                        <c:v>-0.43041660179538505</c:v>
                      </c:pt>
                      <c:pt idx="87">
                        <c:v>-0.4346071337885361</c:v>
                      </c:pt>
                      <c:pt idx="88">
                        <c:v>-0.43318521859590881</c:v>
                      </c:pt>
                      <c:pt idx="89">
                        <c:v>-0.46973530416410003</c:v>
                      </c:pt>
                      <c:pt idx="90">
                        <c:v>-0.53297995053536573</c:v>
                      </c:pt>
                      <c:pt idx="91">
                        <c:v>-0.56083099256272684</c:v>
                      </c:pt>
                      <c:pt idx="92">
                        <c:v>-0.53492141998468334</c:v>
                      </c:pt>
                      <c:pt idx="93">
                        <c:v>-0.36625201015321568</c:v>
                      </c:pt>
                      <c:pt idx="94">
                        <c:v>-0.40381581834611446</c:v>
                      </c:pt>
                      <c:pt idx="95">
                        <c:v>-0.18065235617523462</c:v>
                      </c:pt>
                      <c:pt idx="96">
                        <c:v>-2.5421897973876867E-2</c:v>
                      </c:pt>
                      <c:pt idx="97">
                        <c:v>-3.9250398651039957E-2</c:v>
                      </c:pt>
                      <c:pt idx="98">
                        <c:v>-9.724308683813113E-3</c:v>
                      </c:pt>
                      <c:pt idx="99">
                        <c:v>-8.7406126384396418E-2</c:v>
                      </c:pt>
                      <c:pt idx="100">
                        <c:v>-4.6688027016690385E-2</c:v>
                      </c:pt>
                      <c:pt idx="101">
                        <c:v>-1.1639657563324551E-2</c:v>
                      </c:pt>
                      <c:pt idx="102">
                        <c:v>6.4151881558717941E-2</c:v>
                      </c:pt>
                      <c:pt idx="103">
                        <c:v>0.13003328082184812</c:v>
                      </c:pt>
                      <c:pt idx="104">
                        <c:v>9.1325464685295649E-2</c:v>
                      </c:pt>
                      <c:pt idx="105">
                        <c:v>0.10542054461912734</c:v>
                      </c:pt>
                      <c:pt idx="106">
                        <c:v>8.7675961916034939E-2</c:v>
                      </c:pt>
                      <c:pt idx="107">
                        <c:v>-2.7603192337040283E-2</c:v>
                      </c:pt>
                      <c:pt idx="108">
                        <c:v>-8.4000552571039722E-2</c:v>
                      </c:pt>
                      <c:pt idx="109">
                        <c:v>-0.14855265802687312</c:v>
                      </c:pt>
                      <c:pt idx="110">
                        <c:v>-0.2993100060049334</c:v>
                      </c:pt>
                      <c:pt idx="111">
                        <c:v>-0.18620313209550712</c:v>
                      </c:pt>
                      <c:pt idx="112">
                        <c:v>-0.10459971300585102</c:v>
                      </c:pt>
                      <c:pt idx="113">
                        <c:v>-8.6369786467549003E-2</c:v>
                      </c:pt>
                      <c:pt idx="114">
                        <c:v>-3.2377033811159875E-2</c:v>
                      </c:pt>
                      <c:pt idx="115">
                        <c:v>-0.15343813274241488</c:v>
                      </c:pt>
                      <c:pt idx="116">
                        <c:v>-0.17292356370415335</c:v>
                      </c:pt>
                      <c:pt idx="117">
                        <c:v>-0.15272556270780385</c:v>
                      </c:pt>
                      <c:pt idx="118">
                        <c:v>-4.6992177867096606E-2</c:v>
                      </c:pt>
                      <c:pt idx="119">
                        <c:v>5.2070088607347111E-2</c:v>
                      </c:pt>
                      <c:pt idx="120">
                        <c:v>0.13624997049229326</c:v>
                      </c:pt>
                      <c:pt idx="121">
                        <c:v>0.17208515838468336</c:v>
                      </c:pt>
                      <c:pt idx="122">
                        <c:v>-4.8739920351105664E-2</c:v>
                      </c:pt>
                      <c:pt idx="123">
                        <c:v>-0.28174437520236478</c:v>
                      </c:pt>
                      <c:pt idx="124">
                        <c:v>-0.40118985007401942</c:v>
                      </c:pt>
                      <c:pt idx="125">
                        <c:v>-0.4576798752103749</c:v>
                      </c:pt>
                      <c:pt idx="126">
                        <c:v>-0.45334638702837765</c:v>
                      </c:pt>
                      <c:pt idx="127">
                        <c:v>-0.43315028734429412</c:v>
                      </c:pt>
                      <c:pt idx="128">
                        <c:v>-0.43833381143116862</c:v>
                      </c:pt>
                      <c:pt idx="129">
                        <c:v>-0.14184798458764369</c:v>
                      </c:pt>
                      <c:pt idx="130">
                        <c:v>-0.36513502268873305</c:v>
                      </c:pt>
                      <c:pt idx="131">
                        <c:v>-8.7946985818540852E-2</c:v>
                      </c:pt>
                      <c:pt idx="132">
                        <c:v>-0.12914845691333354</c:v>
                      </c:pt>
                      <c:pt idx="133">
                        <c:v>-8.4154073486247483E-2</c:v>
                      </c:pt>
                      <c:pt idx="134">
                        <c:v>-0.24902380874529695</c:v>
                      </c:pt>
                      <c:pt idx="135">
                        <c:v>-0.12271069318358735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502C-40F9-8CCC-4CDA04848AD2}"/>
                  </c:ext>
                </c:extLst>
              </c15:ser>
            </c15:filteredScatterSeries>
            <c15:filteredScatte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Ταχύτητα ανέμου'!$U$2</c15:sqref>
                        </c15:formulaRef>
                      </c:ext>
                    </c:extLst>
                    <c:strCache>
                      <c:ptCount val="1"/>
                      <c:pt idx="0">
                        <c:v>21ωρη πρόγνωση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Ταχύτητα ανέμου'!$M$3:$M$138</c15:sqref>
                        </c15:formulaRef>
                      </c:ext>
                    </c:extLst>
                    <c:numCache>
                      <c:formatCode>d/m/yy\ h:mm;@</c:formatCode>
                      <c:ptCount val="136"/>
                      <c:pt idx="0">
                        <c:v>38336</c:v>
                      </c:pt>
                      <c:pt idx="1">
                        <c:v>38336.125</c:v>
                      </c:pt>
                      <c:pt idx="2">
                        <c:v>38336.25</c:v>
                      </c:pt>
                      <c:pt idx="3">
                        <c:v>38336.375</c:v>
                      </c:pt>
                      <c:pt idx="4">
                        <c:v>38336.5</c:v>
                      </c:pt>
                      <c:pt idx="5">
                        <c:v>38336.625</c:v>
                      </c:pt>
                      <c:pt idx="6">
                        <c:v>38336.75</c:v>
                      </c:pt>
                      <c:pt idx="7">
                        <c:v>38336.875</c:v>
                      </c:pt>
                      <c:pt idx="8">
                        <c:v>38337</c:v>
                      </c:pt>
                      <c:pt idx="9">
                        <c:v>38337.125</c:v>
                      </c:pt>
                      <c:pt idx="10">
                        <c:v>38337.25</c:v>
                      </c:pt>
                      <c:pt idx="11">
                        <c:v>38337.375</c:v>
                      </c:pt>
                      <c:pt idx="12">
                        <c:v>38337.5</c:v>
                      </c:pt>
                      <c:pt idx="13">
                        <c:v>38337.625</c:v>
                      </c:pt>
                      <c:pt idx="14">
                        <c:v>38337.75</c:v>
                      </c:pt>
                      <c:pt idx="15">
                        <c:v>38337.875</c:v>
                      </c:pt>
                      <c:pt idx="16">
                        <c:v>38338</c:v>
                      </c:pt>
                      <c:pt idx="17">
                        <c:v>38338.125</c:v>
                      </c:pt>
                      <c:pt idx="18">
                        <c:v>38338.25</c:v>
                      </c:pt>
                      <c:pt idx="19">
                        <c:v>38338.375</c:v>
                      </c:pt>
                      <c:pt idx="20">
                        <c:v>38338.5</c:v>
                      </c:pt>
                      <c:pt idx="21">
                        <c:v>38338.625</c:v>
                      </c:pt>
                      <c:pt idx="22">
                        <c:v>38338.75</c:v>
                      </c:pt>
                      <c:pt idx="23">
                        <c:v>38338.875</c:v>
                      </c:pt>
                      <c:pt idx="24">
                        <c:v>38339</c:v>
                      </c:pt>
                      <c:pt idx="25">
                        <c:v>38339.125</c:v>
                      </c:pt>
                      <c:pt idx="26">
                        <c:v>38339.25</c:v>
                      </c:pt>
                      <c:pt idx="27">
                        <c:v>38339.375</c:v>
                      </c:pt>
                      <c:pt idx="28">
                        <c:v>38339.5</c:v>
                      </c:pt>
                      <c:pt idx="29">
                        <c:v>38339.625</c:v>
                      </c:pt>
                      <c:pt idx="30">
                        <c:v>38339.75</c:v>
                      </c:pt>
                      <c:pt idx="31">
                        <c:v>38339.875</c:v>
                      </c:pt>
                      <c:pt idx="32">
                        <c:v>38340</c:v>
                      </c:pt>
                      <c:pt idx="33">
                        <c:v>38340.125</c:v>
                      </c:pt>
                      <c:pt idx="34">
                        <c:v>38340.25</c:v>
                      </c:pt>
                      <c:pt idx="35">
                        <c:v>38340.375</c:v>
                      </c:pt>
                      <c:pt idx="36">
                        <c:v>38340.5</c:v>
                      </c:pt>
                      <c:pt idx="37">
                        <c:v>38340.625</c:v>
                      </c:pt>
                      <c:pt idx="38">
                        <c:v>38340.75</c:v>
                      </c:pt>
                      <c:pt idx="39">
                        <c:v>38340.875</c:v>
                      </c:pt>
                      <c:pt idx="40">
                        <c:v>38341</c:v>
                      </c:pt>
                      <c:pt idx="41">
                        <c:v>38341.125</c:v>
                      </c:pt>
                      <c:pt idx="42">
                        <c:v>38341.25</c:v>
                      </c:pt>
                      <c:pt idx="43">
                        <c:v>38341.375</c:v>
                      </c:pt>
                      <c:pt idx="44">
                        <c:v>38341.5</c:v>
                      </c:pt>
                      <c:pt idx="45">
                        <c:v>38341.625</c:v>
                      </c:pt>
                      <c:pt idx="46">
                        <c:v>38341.75</c:v>
                      </c:pt>
                      <c:pt idx="47">
                        <c:v>38341.875</c:v>
                      </c:pt>
                      <c:pt idx="48">
                        <c:v>38342</c:v>
                      </c:pt>
                      <c:pt idx="49">
                        <c:v>38342.125</c:v>
                      </c:pt>
                      <c:pt idx="50">
                        <c:v>38342.25</c:v>
                      </c:pt>
                      <c:pt idx="51">
                        <c:v>38342.375</c:v>
                      </c:pt>
                      <c:pt idx="52">
                        <c:v>38342.5</c:v>
                      </c:pt>
                      <c:pt idx="53">
                        <c:v>38342.625</c:v>
                      </c:pt>
                      <c:pt idx="54">
                        <c:v>38342.75</c:v>
                      </c:pt>
                      <c:pt idx="55">
                        <c:v>38342.875</c:v>
                      </c:pt>
                      <c:pt idx="56">
                        <c:v>38343</c:v>
                      </c:pt>
                      <c:pt idx="57">
                        <c:v>38343.125</c:v>
                      </c:pt>
                      <c:pt idx="58">
                        <c:v>38343.25</c:v>
                      </c:pt>
                      <c:pt idx="59">
                        <c:v>38343.375</c:v>
                      </c:pt>
                      <c:pt idx="60">
                        <c:v>38343.5</c:v>
                      </c:pt>
                      <c:pt idx="61">
                        <c:v>38343.625</c:v>
                      </c:pt>
                      <c:pt idx="62">
                        <c:v>38343.75</c:v>
                      </c:pt>
                      <c:pt idx="63">
                        <c:v>38343.875</c:v>
                      </c:pt>
                      <c:pt idx="64">
                        <c:v>38344</c:v>
                      </c:pt>
                      <c:pt idx="65">
                        <c:v>38344.125</c:v>
                      </c:pt>
                      <c:pt idx="66">
                        <c:v>38344.25</c:v>
                      </c:pt>
                      <c:pt idx="67">
                        <c:v>38344.375</c:v>
                      </c:pt>
                      <c:pt idx="68">
                        <c:v>38344.5</c:v>
                      </c:pt>
                      <c:pt idx="69">
                        <c:v>38344.625</c:v>
                      </c:pt>
                      <c:pt idx="70">
                        <c:v>38344.75</c:v>
                      </c:pt>
                      <c:pt idx="71">
                        <c:v>38344.875</c:v>
                      </c:pt>
                      <c:pt idx="72">
                        <c:v>38345</c:v>
                      </c:pt>
                      <c:pt idx="73">
                        <c:v>38345.125</c:v>
                      </c:pt>
                      <c:pt idx="74">
                        <c:v>38345.25</c:v>
                      </c:pt>
                      <c:pt idx="75">
                        <c:v>38345.375</c:v>
                      </c:pt>
                      <c:pt idx="76">
                        <c:v>38345.5</c:v>
                      </c:pt>
                      <c:pt idx="77">
                        <c:v>38345.625</c:v>
                      </c:pt>
                      <c:pt idx="78">
                        <c:v>38345.75</c:v>
                      </c:pt>
                      <c:pt idx="79">
                        <c:v>38345.875</c:v>
                      </c:pt>
                      <c:pt idx="80">
                        <c:v>38346</c:v>
                      </c:pt>
                      <c:pt idx="81">
                        <c:v>38346.125</c:v>
                      </c:pt>
                      <c:pt idx="82">
                        <c:v>38346.25</c:v>
                      </c:pt>
                      <c:pt idx="83">
                        <c:v>38346.375</c:v>
                      </c:pt>
                      <c:pt idx="84">
                        <c:v>38346.5</c:v>
                      </c:pt>
                      <c:pt idx="85">
                        <c:v>38346.625</c:v>
                      </c:pt>
                      <c:pt idx="86">
                        <c:v>38346.75</c:v>
                      </c:pt>
                      <c:pt idx="87">
                        <c:v>38346.875</c:v>
                      </c:pt>
                      <c:pt idx="88">
                        <c:v>38347</c:v>
                      </c:pt>
                      <c:pt idx="89">
                        <c:v>38347.125</c:v>
                      </c:pt>
                      <c:pt idx="90">
                        <c:v>38347.25</c:v>
                      </c:pt>
                      <c:pt idx="91">
                        <c:v>38347.375</c:v>
                      </c:pt>
                      <c:pt idx="92">
                        <c:v>38347.5</c:v>
                      </c:pt>
                      <c:pt idx="93">
                        <c:v>38347.625</c:v>
                      </c:pt>
                      <c:pt idx="94">
                        <c:v>38347.75</c:v>
                      </c:pt>
                      <c:pt idx="95">
                        <c:v>38347.875</c:v>
                      </c:pt>
                      <c:pt idx="96">
                        <c:v>38348</c:v>
                      </c:pt>
                      <c:pt idx="97">
                        <c:v>38348.125</c:v>
                      </c:pt>
                      <c:pt idx="98">
                        <c:v>38348.25</c:v>
                      </c:pt>
                      <c:pt idx="99">
                        <c:v>38348.375</c:v>
                      </c:pt>
                      <c:pt idx="100">
                        <c:v>38348.5</c:v>
                      </c:pt>
                      <c:pt idx="101">
                        <c:v>38348.625</c:v>
                      </c:pt>
                      <c:pt idx="102">
                        <c:v>38348.75</c:v>
                      </c:pt>
                      <c:pt idx="103">
                        <c:v>38348.875</c:v>
                      </c:pt>
                      <c:pt idx="104">
                        <c:v>38349</c:v>
                      </c:pt>
                      <c:pt idx="105">
                        <c:v>38349.125</c:v>
                      </c:pt>
                      <c:pt idx="106">
                        <c:v>38349.25</c:v>
                      </c:pt>
                      <c:pt idx="107">
                        <c:v>38349.375</c:v>
                      </c:pt>
                      <c:pt idx="108">
                        <c:v>38349.5</c:v>
                      </c:pt>
                      <c:pt idx="109">
                        <c:v>38349.625</c:v>
                      </c:pt>
                      <c:pt idx="110">
                        <c:v>38349.75</c:v>
                      </c:pt>
                      <c:pt idx="111">
                        <c:v>38349.875</c:v>
                      </c:pt>
                      <c:pt idx="112">
                        <c:v>38350</c:v>
                      </c:pt>
                      <c:pt idx="113">
                        <c:v>38350.125</c:v>
                      </c:pt>
                      <c:pt idx="114">
                        <c:v>38350.25</c:v>
                      </c:pt>
                      <c:pt idx="115">
                        <c:v>38350.375</c:v>
                      </c:pt>
                      <c:pt idx="116">
                        <c:v>38350.5</c:v>
                      </c:pt>
                      <c:pt idx="117">
                        <c:v>38350.625</c:v>
                      </c:pt>
                      <c:pt idx="118">
                        <c:v>38350.75</c:v>
                      </c:pt>
                      <c:pt idx="119">
                        <c:v>38350.875</c:v>
                      </c:pt>
                      <c:pt idx="120">
                        <c:v>38351</c:v>
                      </c:pt>
                      <c:pt idx="121">
                        <c:v>38351.125</c:v>
                      </c:pt>
                      <c:pt idx="122">
                        <c:v>38351.25</c:v>
                      </c:pt>
                      <c:pt idx="123">
                        <c:v>38351.375</c:v>
                      </c:pt>
                      <c:pt idx="124">
                        <c:v>38351.5</c:v>
                      </c:pt>
                      <c:pt idx="125">
                        <c:v>38351.625</c:v>
                      </c:pt>
                      <c:pt idx="126">
                        <c:v>38351.75</c:v>
                      </c:pt>
                      <c:pt idx="127">
                        <c:v>38351.875</c:v>
                      </c:pt>
                      <c:pt idx="128">
                        <c:v>38352</c:v>
                      </c:pt>
                      <c:pt idx="129">
                        <c:v>38352.125</c:v>
                      </c:pt>
                      <c:pt idx="130">
                        <c:v>38352.25</c:v>
                      </c:pt>
                      <c:pt idx="131">
                        <c:v>38352.375</c:v>
                      </c:pt>
                      <c:pt idx="132">
                        <c:v>38352.5</c:v>
                      </c:pt>
                      <c:pt idx="133">
                        <c:v>38352.625</c:v>
                      </c:pt>
                      <c:pt idx="134">
                        <c:v>38352.75</c:v>
                      </c:pt>
                      <c:pt idx="135">
                        <c:v>38352.87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Ταχύτητα ανέμου'!$U$3:$U$138</c15:sqref>
                        </c15:formulaRef>
                      </c:ext>
                    </c:extLst>
                    <c:numCache>
                      <c:formatCode>General</c:formatCode>
                      <c:ptCount val="136"/>
                      <c:pt idx="0">
                        <c:v>-0.37331879540437862</c:v>
                      </c:pt>
                      <c:pt idx="1">
                        <c:v>-0.2533659509613797</c:v>
                      </c:pt>
                      <c:pt idx="2">
                        <c:v>-0.12046709137863075</c:v>
                      </c:pt>
                      <c:pt idx="3">
                        <c:v>-0.167124748593526</c:v>
                      </c:pt>
                      <c:pt idx="4">
                        <c:v>-0.18105311972897151</c:v>
                      </c:pt>
                      <c:pt idx="5">
                        <c:v>-0.12322310286806493</c:v>
                      </c:pt>
                      <c:pt idx="6">
                        <c:v>-0.28406006941084161</c:v>
                      </c:pt>
                      <c:pt idx="7">
                        <c:v>-0.35836355540438569</c:v>
                      </c:pt>
                      <c:pt idx="8">
                        <c:v>-0.37813665750548803</c:v>
                      </c:pt>
                      <c:pt idx="9">
                        <c:v>-0.39647124294033775</c:v>
                      </c:pt>
                      <c:pt idx="10">
                        <c:v>-0.30091085128800005</c:v>
                      </c:pt>
                      <c:pt idx="11">
                        <c:v>-0.25653980309146723</c:v>
                      </c:pt>
                      <c:pt idx="12">
                        <c:v>-0.25849008035443161</c:v>
                      </c:pt>
                      <c:pt idx="13">
                        <c:v>-0.36021378523653924</c:v>
                      </c:pt>
                      <c:pt idx="14">
                        <c:v>-0.39566079143695443</c:v>
                      </c:pt>
                      <c:pt idx="15">
                        <c:v>-0.39851449496858682</c:v>
                      </c:pt>
                      <c:pt idx="16">
                        <c:v>-0.39260123149202913</c:v>
                      </c:pt>
                      <c:pt idx="17">
                        <c:v>-0.39616411595080891</c:v>
                      </c:pt>
                      <c:pt idx="18">
                        <c:v>-0.2969663358068913</c:v>
                      </c:pt>
                      <c:pt idx="19">
                        <c:v>-0.41165447162582347</c:v>
                      </c:pt>
                      <c:pt idx="20">
                        <c:v>-0.26093381896239043</c:v>
                      </c:pt>
                      <c:pt idx="21">
                        <c:v>-0.20996951159354449</c:v>
                      </c:pt>
                      <c:pt idx="22">
                        <c:v>-0.14201414051902966</c:v>
                      </c:pt>
                      <c:pt idx="23">
                        <c:v>-5.8157008539472296E-2</c:v>
                      </c:pt>
                      <c:pt idx="24">
                        <c:v>-0.2329149789480745</c:v>
                      </c:pt>
                      <c:pt idx="25">
                        <c:v>-0.13471420556680092</c:v>
                      </c:pt>
                      <c:pt idx="26">
                        <c:v>-3.9531974251002994E-2</c:v>
                      </c:pt>
                      <c:pt idx="27">
                        <c:v>-6.9284767270522699E-2</c:v>
                      </c:pt>
                      <c:pt idx="28">
                        <c:v>-6.3093028125807235E-2</c:v>
                      </c:pt>
                      <c:pt idx="29">
                        <c:v>3.06541235922526E-2</c:v>
                      </c:pt>
                      <c:pt idx="30">
                        <c:v>0.13823677393713243</c:v>
                      </c:pt>
                      <c:pt idx="31">
                        <c:v>0.20454905704224277</c:v>
                      </c:pt>
                      <c:pt idx="32">
                        <c:v>0.2266682617481294</c:v>
                      </c:pt>
                      <c:pt idx="33">
                        <c:v>0.12039117290388764</c:v>
                      </c:pt>
                      <c:pt idx="34">
                        <c:v>5.5789348423870122E-2</c:v>
                      </c:pt>
                      <c:pt idx="35">
                        <c:v>9.7879153416918746E-2</c:v>
                      </c:pt>
                      <c:pt idx="36">
                        <c:v>0.18143035042820055</c:v>
                      </c:pt>
                      <c:pt idx="37">
                        <c:v>-1.8392369952919499E-2</c:v>
                      </c:pt>
                      <c:pt idx="38">
                        <c:v>6.7518721878758348E-2</c:v>
                      </c:pt>
                      <c:pt idx="39">
                        <c:v>7.1618735726709196E-2</c:v>
                      </c:pt>
                      <c:pt idx="40">
                        <c:v>0.16387465619466524</c:v>
                      </c:pt>
                      <c:pt idx="41">
                        <c:v>-0.13042457553007919</c:v>
                      </c:pt>
                      <c:pt idx="42">
                        <c:v>-0.33980522279529007</c:v>
                      </c:pt>
                      <c:pt idx="43">
                        <c:v>-0.4486607462589623</c:v>
                      </c:pt>
                      <c:pt idx="44">
                        <c:v>-0.35219416604602038</c:v>
                      </c:pt>
                      <c:pt idx="45">
                        <c:v>-0.38212307655102284</c:v>
                      </c:pt>
                      <c:pt idx="46">
                        <c:v>-0.3868949470073702</c:v>
                      </c:pt>
                      <c:pt idx="47">
                        <c:v>-0.37703610333684157</c:v>
                      </c:pt>
                      <c:pt idx="48">
                        <c:v>-0.36421158899193301</c:v>
                      </c:pt>
                      <c:pt idx="49">
                        <c:v>-0.36770357851792856</c:v>
                      </c:pt>
                      <c:pt idx="50">
                        <c:v>-0.40957660862731327</c:v>
                      </c:pt>
                      <c:pt idx="51">
                        <c:v>-0.46937599452415268</c:v>
                      </c:pt>
                      <c:pt idx="52">
                        <c:v>-0.48685451764748383</c:v>
                      </c:pt>
                      <c:pt idx="53">
                        <c:v>-0.44574244012143005</c:v>
                      </c:pt>
                      <c:pt idx="54">
                        <c:v>-0.41139858418099895</c:v>
                      </c:pt>
                      <c:pt idx="55">
                        <c:v>-0.38965875612010026</c:v>
                      </c:pt>
                      <c:pt idx="56">
                        <c:v>-0.37044942737717523</c:v>
                      </c:pt>
                      <c:pt idx="57">
                        <c:v>-0.3743893042107645</c:v>
                      </c:pt>
                      <c:pt idx="58">
                        <c:v>-0.28521884481762361</c:v>
                      </c:pt>
                      <c:pt idx="59">
                        <c:v>-0.28068568930942989</c:v>
                      </c:pt>
                      <c:pt idx="60">
                        <c:v>-0.41448973135043488</c:v>
                      </c:pt>
                      <c:pt idx="61">
                        <c:v>-0.29992207212161526</c:v>
                      </c:pt>
                      <c:pt idx="62">
                        <c:v>-0.1090704146584968</c:v>
                      </c:pt>
                      <c:pt idx="63">
                        <c:v>3.0028920028126627E-2</c:v>
                      </c:pt>
                      <c:pt idx="64">
                        <c:v>5.2501083752109531E-2</c:v>
                      </c:pt>
                      <c:pt idx="65">
                        <c:v>-6.0652756237263079E-2</c:v>
                      </c:pt>
                      <c:pt idx="66">
                        <c:v>-9.4426171926844257E-2</c:v>
                      </c:pt>
                      <c:pt idx="67">
                        <c:v>-0.20661622289012788</c:v>
                      </c:pt>
                      <c:pt idx="68">
                        <c:v>-0.21774238492707196</c:v>
                      </c:pt>
                      <c:pt idx="69">
                        <c:v>-0.34358414637182078</c:v>
                      </c:pt>
                      <c:pt idx="70">
                        <c:v>-0.2567408524888804</c:v>
                      </c:pt>
                      <c:pt idx="71">
                        <c:v>-0.11411132657575611</c:v>
                      </c:pt>
                      <c:pt idx="72">
                        <c:v>-0.25388996954375859</c:v>
                      </c:pt>
                      <c:pt idx="73">
                        <c:v>-0.34462767480963341</c:v>
                      </c:pt>
                      <c:pt idx="74">
                        <c:v>-0.41912590285981033</c:v>
                      </c:pt>
                      <c:pt idx="75">
                        <c:v>-0.35667289585835915</c:v>
                      </c:pt>
                      <c:pt idx="76">
                        <c:v>-0.43532360960173466</c:v>
                      </c:pt>
                      <c:pt idx="77">
                        <c:v>-0.31116722704032607</c:v>
                      </c:pt>
                      <c:pt idx="78">
                        <c:v>-0.35096106666579852</c:v>
                      </c:pt>
                      <c:pt idx="79">
                        <c:v>-0.23095321878891706</c:v>
                      </c:pt>
                      <c:pt idx="80">
                        <c:v>-0.15335879516153178</c:v>
                      </c:pt>
                      <c:pt idx="81">
                        <c:v>-0.27635563608440383</c:v>
                      </c:pt>
                      <c:pt idx="82">
                        <c:v>-0.21396847006350628</c:v>
                      </c:pt>
                      <c:pt idx="83">
                        <c:v>-0.17990849426338645</c:v>
                      </c:pt>
                      <c:pt idx="84">
                        <c:v>-0.14946991728576337</c:v>
                      </c:pt>
                      <c:pt idx="85">
                        <c:v>-0.29917669196699814</c:v>
                      </c:pt>
                      <c:pt idx="86">
                        <c:v>-0.36949911078803943</c:v>
                      </c:pt>
                      <c:pt idx="87">
                        <c:v>-0.387579122308366</c:v>
                      </c:pt>
                      <c:pt idx="88">
                        <c:v>-0.38184005512050001</c:v>
                      </c:pt>
                      <c:pt idx="89">
                        <c:v>-0.38739722285009909</c:v>
                      </c:pt>
                      <c:pt idx="90">
                        <c:v>-0.43368757635006139</c:v>
                      </c:pt>
                      <c:pt idx="91">
                        <c:v>-0.49264144785579478</c:v>
                      </c:pt>
                      <c:pt idx="92">
                        <c:v>-0.51084862589201752</c:v>
                      </c:pt>
                      <c:pt idx="93">
                        <c:v>-0.47242124805271157</c:v>
                      </c:pt>
                      <c:pt idx="94">
                        <c:v>-0.29424565178012418</c:v>
                      </c:pt>
                      <c:pt idx="95">
                        <c:v>-0.33467914649526997</c:v>
                      </c:pt>
                      <c:pt idx="96">
                        <c:v>-0.15736919559408341</c:v>
                      </c:pt>
                      <c:pt idx="97">
                        <c:v>3.5427154230864059E-2</c:v>
                      </c:pt>
                      <c:pt idx="98">
                        <c:v>-2.3498212459346791E-2</c:v>
                      </c:pt>
                      <c:pt idx="99">
                        <c:v>-3.5233350513926974E-2</c:v>
                      </c:pt>
                      <c:pt idx="100">
                        <c:v>-8.3365269073926329E-2</c:v>
                      </c:pt>
                      <c:pt idx="101">
                        <c:v>-4.9757032923153803E-2</c:v>
                      </c:pt>
                      <c:pt idx="102">
                        <c:v>-8.7103949145590776E-4</c:v>
                      </c:pt>
                      <c:pt idx="103">
                        <c:v>6.4944737768566532E-2</c:v>
                      </c:pt>
                      <c:pt idx="104">
                        <c:v>0.129203761376673</c:v>
                      </c:pt>
                      <c:pt idx="105">
                        <c:v>7.9739085871796164E-2</c:v>
                      </c:pt>
                      <c:pt idx="106">
                        <c:v>7.6444615981082611E-2</c:v>
                      </c:pt>
                      <c:pt idx="107">
                        <c:v>7.5197240864541326E-2</c:v>
                      </c:pt>
                      <c:pt idx="108">
                        <c:v>-4.7294715267512694E-2</c:v>
                      </c:pt>
                      <c:pt idx="109">
                        <c:v>-0.1086098645531693</c:v>
                      </c:pt>
                      <c:pt idx="110">
                        <c:v>-0.1440002938431022</c:v>
                      </c:pt>
                      <c:pt idx="111">
                        <c:v>-0.28562899403425579</c:v>
                      </c:pt>
                      <c:pt idx="112">
                        <c:v>-0.17586743731465776</c:v>
                      </c:pt>
                      <c:pt idx="113">
                        <c:v>-4.9988269571859076E-2</c:v>
                      </c:pt>
                      <c:pt idx="114">
                        <c:v>-5.8171507467902103E-2</c:v>
                      </c:pt>
                      <c:pt idx="115">
                        <c:v>-3.8939227911167544E-2</c:v>
                      </c:pt>
                      <c:pt idx="116">
                        <c:v>-0.15444385740398331</c:v>
                      </c:pt>
                      <c:pt idx="117">
                        <c:v>-0.18003316833331751</c:v>
                      </c:pt>
                      <c:pt idx="118">
                        <c:v>-0.12812219628849023</c:v>
                      </c:pt>
                      <c:pt idx="119">
                        <c:v>-1.3463133597083211E-2</c:v>
                      </c:pt>
                      <c:pt idx="120">
                        <c:v>7.972267982377626E-2</c:v>
                      </c:pt>
                      <c:pt idx="121">
                        <c:v>0.14030550100692893</c:v>
                      </c:pt>
                      <c:pt idx="122">
                        <c:v>0.1606432317504938</c:v>
                      </c:pt>
                      <c:pt idx="123">
                        <c:v>-7.5751752070833955E-2</c:v>
                      </c:pt>
                      <c:pt idx="124">
                        <c:v>-0.32627823447495369</c:v>
                      </c:pt>
                      <c:pt idx="125">
                        <c:v>-0.4010812389979822</c:v>
                      </c:pt>
                      <c:pt idx="126">
                        <c:v>-0.41033259375805281</c:v>
                      </c:pt>
                      <c:pt idx="127">
                        <c:v>-0.39748302866773655</c:v>
                      </c:pt>
                      <c:pt idx="128">
                        <c:v>-0.38233561145467687</c:v>
                      </c:pt>
                      <c:pt idx="129">
                        <c:v>-0.38576854807373451</c:v>
                      </c:pt>
                      <c:pt idx="130">
                        <c:v>-8.2198888380937113E-2</c:v>
                      </c:pt>
                      <c:pt idx="131">
                        <c:v>-0.29746280419526555</c:v>
                      </c:pt>
                      <c:pt idx="132">
                        <c:v>-0.11355238833938833</c:v>
                      </c:pt>
                      <c:pt idx="133">
                        <c:v>-6.617000006695184E-2</c:v>
                      </c:pt>
                      <c:pt idx="134">
                        <c:v>-8.453217722560219E-2</c:v>
                      </c:pt>
                      <c:pt idx="135">
                        <c:v>-0.24183465142763461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502C-40F9-8CCC-4CDA04848AD2}"/>
                  </c:ext>
                </c:extLst>
              </c15:ser>
            </c15:filteredScatterSeries>
          </c:ext>
        </c:extLst>
      </c:scatterChart>
      <c:valAx>
        <c:axId val="167453056"/>
        <c:scaling>
          <c:orientation val="minMax"/>
          <c:max val="38353"/>
          <c:min val="38338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/d/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7454592"/>
        <c:crosses val="autoZero"/>
        <c:crossBetween val="midCat"/>
      </c:valAx>
      <c:valAx>
        <c:axId val="167454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ΤΥΠΟΠΟΙΗΜΕΝΕΣ ΤΙΜΕΣ ΤΑΧΥΤΗΤΑΣ ΑΝΕΜΟΥ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745305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5398014378637452"/>
          <c:w val="0.99828502415458964"/>
          <c:h val="4.60198562136254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00B050"/>
      </a:solidFill>
      <a:round/>
    </a:ln>
    <a:effectLst/>
  </c:spPr>
  <c:txPr>
    <a:bodyPr/>
    <a:lstStyle/>
    <a:p>
      <a:pPr>
        <a:defRPr sz="900"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953960880010467E-2"/>
          <c:y val="1.8402658116488942E-2"/>
          <c:w val="0.86987044710800865"/>
          <c:h val="0.87541759911589989"/>
        </c:manualLayout>
      </c:layout>
      <c:scatterChart>
        <c:scatterStyle val="lineMarker"/>
        <c:varyColors val="0"/>
        <c:ser>
          <c:idx val="0"/>
          <c:order val="0"/>
          <c:tx>
            <c:strRef>
              <c:f>Κατακρήμνιση!$N$2</c:f>
              <c:strCache>
                <c:ptCount val="1"/>
                <c:pt idx="0">
                  <c:v>μέτρηση </c:v>
                </c:pt>
              </c:strCache>
            </c:strRef>
          </c:tx>
          <c:spPr>
            <a:ln w="19050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xVal>
            <c:numRef>
              <c:f>Κατακρήμνιση!$M$3:$M$138</c:f>
              <c:numCache>
                <c:formatCode>d/m/yy\ h:mm;@</c:formatCode>
                <c:ptCount val="136"/>
                <c:pt idx="0">
                  <c:v>38336</c:v>
                </c:pt>
                <c:pt idx="1">
                  <c:v>38336.124999999993</c:v>
                </c:pt>
                <c:pt idx="2">
                  <c:v>38336.25</c:v>
                </c:pt>
                <c:pt idx="3">
                  <c:v>38336.375</c:v>
                </c:pt>
                <c:pt idx="4">
                  <c:v>38336.5</c:v>
                </c:pt>
                <c:pt idx="5">
                  <c:v>38336.624999999993</c:v>
                </c:pt>
                <c:pt idx="6">
                  <c:v>38336.75</c:v>
                </c:pt>
                <c:pt idx="7">
                  <c:v>38336.875</c:v>
                </c:pt>
                <c:pt idx="8">
                  <c:v>38337</c:v>
                </c:pt>
                <c:pt idx="9">
                  <c:v>38337.124999999993</c:v>
                </c:pt>
                <c:pt idx="10">
                  <c:v>38337.25</c:v>
                </c:pt>
                <c:pt idx="11">
                  <c:v>38337.375</c:v>
                </c:pt>
                <c:pt idx="12">
                  <c:v>38337.5</c:v>
                </c:pt>
                <c:pt idx="13">
                  <c:v>38337.624999999993</c:v>
                </c:pt>
                <c:pt idx="14">
                  <c:v>38337.75</c:v>
                </c:pt>
                <c:pt idx="15">
                  <c:v>38337.875</c:v>
                </c:pt>
                <c:pt idx="16">
                  <c:v>38338</c:v>
                </c:pt>
                <c:pt idx="17">
                  <c:v>38338.124999999993</c:v>
                </c:pt>
                <c:pt idx="18">
                  <c:v>38338.25</c:v>
                </c:pt>
                <c:pt idx="19">
                  <c:v>38338.375</c:v>
                </c:pt>
                <c:pt idx="20">
                  <c:v>38338.5</c:v>
                </c:pt>
                <c:pt idx="21">
                  <c:v>38338.624999999993</c:v>
                </c:pt>
                <c:pt idx="22">
                  <c:v>38338.75</c:v>
                </c:pt>
                <c:pt idx="23">
                  <c:v>38338.875</c:v>
                </c:pt>
                <c:pt idx="24">
                  <c:v>38339</c:v>
                </c:pt>
                <c:pt idx="25">
                  <c:v>38339.124999999993</c:v>
                </c:pt>
                <c:pt idx="26">
                  <c:v>38339.25</c:v>
                </c:pt>
                <c:pt idx="27">
                  <c:v>38339.375</c:v>
                </c:pt>
                <c:pt idx="28">
                  <c:v>38339.5</c:v>
                </c:pt>
                <c:pt idx="29">
                  <c:v>38339.624999999993</c:v>
                </c:pt>
                <c:pt idx="30">
                  <c:v>38339.75</c:v>
                </c:pt>
                <c:pt idx="31">
                  <c:v>38339.875</c:v>
                </c:pt>
                <c:pt idx="32">
                  <c:v>38340</c:v>
                </c:pt>
                <c:pt idx="33">
                  <c:v>38340.124999999993</c:v>
                </c:pt>
                <c:pt idx="34">
                  <c:v>38340.25</c:v>
                </c:pt>
                <c:pt idx="35">
                  <c:v>38340.375</c:v>
                </c:pt>
                <c:pt idx="36">
                  <c:v>38340.5</c:v>
                </c:pt>
                <c:pt idx="37">
                  <c:v>38340.624999999993</c:v>
                </c:pt>
                <c:pt idx="38">
                  <c:v>38340.75</c:v>
                </c:pt>
                <c:pt idx="39">
                  <c:v>38340.875</c:v>
                </c:pt>
                <c:pt idx="40">
                  <c:v>38341</c:v>
                </c:pt>
                <c:pt idx="41">
                  <c:v>38341.124999999993</c:v>
                </c:pt>
                <c:pt idx="42">
                  <c:v>38341.25</c:v>
                </c:pt>
                <c:pt idx="43">
                  <c:v>38341.375</c:v>
                </c:pt>
                <c:pt idx="44">
                  <c:v>38341.5</c:v>
                </c:pt>
                <c:pt idx="45">
                  <c:v>38341.624999999993</c:v>
                </c:pt>
                <c:pt idx="46">
                  <c:v>38341.75</c:v>
                </c:pt>
                <c:pt idx="47">
                  <c:v>38341.875</c:v>
                </c:pt>
                <c:pt idx="48">
                  <c:v>38342</c:v>
                </c:pt>
                <c:pt idx="49">
                  <c:v>38342.124999999993</c:v>
                </c:pt>
                <c:pt idx="50">
                  <c:v>38342.25</c:v>
                </c:pt>
                <c:pt idx="51">
                  <c:v>38342.375</c:v>
                </c:pt>
                <c:pt idx="52">
                  <c:v>38342.5</c:v>
                </c:pt>
                <c:pt idx="53">
                  <c:v>38342.624999999993</c:v>
                </c:pt>
                <c:pt idx="54">
                  <c:v>38342.75</c:v>
                </c:pt>
                <c:pt idx="55">
                  <c:v>38342.875</c:v>
                </c:pt>
                <c:pt idx="56">
                  <c:v>38343</c:v>
                </c:pt>
                <c:pt idx="57">
                  <c:v>38343.124999999993</c:v>
                </c:pt>
                <c:pt idx="58">
                  <c:v>38343.25</c:v>
                </c:pt>
                <c:pt idx="59">
                  <c:v>38343.375</c:v>
                </c:pt>
                <c:pt idx="60">
                  <c:v>38343.5</c:v>
                </c:pt>
                <c:pt idx="61">
                  <c:v>38343.624999999993</c:v>
                </c:pt>
                <c:pt idx="62">
                  <c:v>38343.75</c:v>
                </c:pt>
                <c:pt idx="63">
                  <c:v>38343.875</c:v>
                </c:pt>
                <c:pt idx="64">
                  <c:v>38344</c:v>
                </c:pt>
                <c:pt idx="65">
                  <c:v>38344.124999999993</c:v>
                </c:pt>
                <c:pt idx="66">
                  <c:v>38344.25</c:v>
                </c:pt>
                <c:pt idx="67">
                  <c:v>38344.375</c:v>
                </c:pt>
                <c:pt idx="68">
                  <c:v>38344.5</c:v>
                </c:pt>
                <c:pt idx="69">
                  <c:v>38344.624999999993</c:v>
                </c:pt>
                <c:pt idx="70">
                  <c:v>38344.75</c:v>
                </c:pt>
                <c:pt idx="71">
                  <c:v>38344.875</c:v>
                </c:pt>
                <c:pt idx="72">
                  <c:v>38345</c:v>
                </c:pt>
                <c:pt idx="73">
                  <c:v>38345.124999999993</c:v>
                </c:pt>
                <c:pt idx="74">
                  <c:v>38345.25</c:v>
                </c:pt>
                <c:pt idx="75">
                  <c:v>38345.375</c:v>
                </c:pt>
                <c:pt idx="76">
                  <c:v>38345.5</c:v>
                </c:pt>
                <c:pt idx="77">
                  <c:v>38345.624999999993</c:v>
                </c:pt>
                <c:pt idx="78">
                  <c:v>38345.75</c:v>
                </c:pt>
                <c:pt idx="79">
                  <c:v>38345.875</c:v>
                </c:pt>
                <c:pt idx="80">
                  <c:v>38346</c:v>
                </c:pt>
                <c:pt idx="81">
                  <c:v>38346.124999999993</c:v>
                </c:pt>
                <c:pt idx="82">
                  <c:v>38346.25</c:v>
                </c:pt>
                <c:pt idx="83">
                  <c:v>38346.375</c:v>
                </c:pt>
                <c:pt idx="84">
                  <c:v>38346.5</c:v>
                </c:pt>
                <c:pt idx="85">
                  <c:v>38346.624999999993</c:v>
                </c:pt>
                <c:pt idx="86">
                  <c:v>38346.75</c:v>
                </c:pt>
                <c:pt idx="87">
                  <c:v>38346.875</c:v>
                </c:pt>
                <c:pt idx="88">
                  <c:v>38347</c:v>
                </c:pt>
                <c:pt idx="89">
                  <c:v>38347.124999999993</c:v>
                </c:pt>
                <c:pt idx="90">
                  <c:v>38347.25</c:v>
                </c:pt>
                <c:pt idx="91">
                  <c:v>38347.375</c:v>
                </c:pt>
                <c:pt idx="92">
                  <c:v>38347.5</c:v>
                </c:pt>
                <c:pt idx="93">
                  <c:v>38347.624999999993</c:v>
                </c:pt>
                <c:pt idx="94">
                  <c:v>38347.75</c:v>
                </c:pt>
                <c:pt idx="95">
                  <c:v>38347.875</c:v>
                </c:pt>
                <c:pt idx="96">
                  <c:v>38348</c:v>
                </c:pt>
                <c:pt idx="97">
                  <c:v>38348.124999999993</c:v>
                </c:pt>
                <c:pt idx="98">
                  <c:v>38348.25</c:v>
                </c:pt>
                <c:pt idx="99">
                  <c:v>38348.375</c:v>
                </c:pt>
                <c:pt idx="100">
                  <c:v>38348.5</c:v>
                </c:pt>
                <c:pt idx="101">
                  <c:v>38348.624999999993</c:v>
                </c:pt>
                <c:pt idx="102">
                  <c:v>38348.75</c:v>
                </c:pt>
                <c:pt idx="103">
                  <c:v>38348.875</c:v>
                </c:pt>
                <c:pt idx="104">
                  <c:v>38349</c:v>
                </c:pt>
                <c:pt idx="105">
                  <c:v>38349.124999999993</c:v>
                </c:pt>
                <c:pt idx="106">
                  <c:v>38349.25</c:v>
                </c:pt>
                <c:pt idx="107">
                  <c:v>38349.375</c:v>
                </c:pt>
                <c:pt idx="108">
                  <c:v>38349.5</c:v>
                </c:pt>
                <c:pt idx="109">
                  <c:v>38349.624999999993</c:v>
                </c:pt>
                <c:pt idx="110">
                  <c:v>38349.75</c:v>
                </c:pt>
                <c:pt idx="111">
                  <c:v>38349.875</c:v>
                </c:pt>
                <c:pt idx="112">
                  <c:v>38350</c:v>
                </c:pt>
                <c:pt idx="113">
                  <c:v>38350.124999999993</c:v>
                </c:pt>
                <c:pt idx="114">
                  <c:v>38350.25</c:v>
                </c:pt>
                <c:pt idx="115">
                  <c:v>38350.375</c:v>
                </c:pt>
                <c:pt idx="116">
                  <c:v>38350.5</c:v>
                </c:pt>
                <c:pt idx="117">
                  <c:v>38350.624999999993</c:v>
                </c:pt>
                <c:pt idx="118">
                  <c:v>38350.75</c:v>
                </c:pt>
                <c:pt idx="119">
                  <c:v>38350.875</c:v>
                </c:pt>
                <c:pt idx="120">
                  <c:v>38351</c:v>
                </c:pt>
                <c:pt idx="121">
                  <c:v>38351.124999999993</c:v>
                </c:pt>
                <c:pt idx="122">
                  <c:v>38351.25</c:v>
                </c:pt>
                <c:pt idx="123">
                  <c:v>38351.375</c:v>
                </c:pt>
                <c:pt idx="124">
                  <c:v>38351.5</c:v>
                </c:pt>
                <c:pt idx="125">
                  <c:v>38351.624999999993</c:v>
                </c:pt>
                <c:pt idx="126">
                  <c:v>38351.75</c:v>
                </c:pt>
                <c:pt idx="127">
                  <c:v>38351.875</c:v>
                </c:pt>
                <c:pt idx="128">
                  <c:v>38352</c:v>
                </c:pt>
                <c:pt idx="129">
                  <c:v>38352.124999999993</c:v>
                </c:pt>
                <c:pt idx="130">
                  <c:v>38352.25</c:v>
                </c:pt>
                <c:pt idx="131">
                  <c:v>38352.375</c:v>
                </c:pt>
                <c:pt idx="132">
                  <c:v>38352.5</c:v>
                </c:pt>
                <c:pt idx="133">
                  <c:v>38352.624999999993</c:v>
                </c:pt>
                <c:pt idx="134">
                  <c:v>38352.75</c:v>
                </c:pt>
                <c:pt idx="135">
                  <c:v>38352.875</c:v>
                </c:pt>
              </c:numCache>
            </c:numRef>
          </c:xVal>
          <c:yVal>
            <c:numRef>
              <c:f>Κατακρήμνιση!$N$3:$N$138</c:f>
              <c:numCache>
                <c:formatCode>General</c:formatCode>
                <c:ptCount val="136"/>
                <c:pt idx="0">
                  <c:v>-0.13952152016825731</c:v>
                </c:pt>
                <c:pt idx="1">
                  <c:v>-0.18446059745088841</c:v>
                </c:pt>
                <c:pt idx="2">
                  <c:v>-0.26674204108110611</c:v>
                </c:pt>
                <c:pt idx="3">
                  <c:v>-0.17448076121335288</c:v>
                </c:pt>
                <c:pt idx="4">
                  <c:v>-0.16201447633523094</c:v>
                </c:pt>
                <c:pt idx="5">
                  <c:v>-0.17387219095506595</c:v>
                </c:pt>
                <c:pt idx="6">
                  <c:v>-0.2426070028393065</c:v>
                </c:pt>
                <c:pt idx="7">
                  <c:v>-0.21126525239835234</c:v>
                </c:pt>
                <c:pt idx="8">
                  <c:v>-0.13952152016825731</c:v>
                </c:pt>
                <c:pt idx="9">
                  <c:v>-0.18446059745088841</c:v>
                </c:pt>
                <c:pt idx="10">
                  <c:v>-0.26674204108110611</c:v>
                </c:pt>
                <c:pt idx="11">
                  <c:v>-0.17448076121335288</c:v>
                </c:pt>
                <c:pt idx="12">
                  <c:v>-0.16201447633523094</c:v>
                </c:pt>
                <c:pt idx="13">
                  <c:v>-0.17387219095506595</c:v>
                </c:pt>
                <c:pt idx="14">
                  <c:v>-0.2426070028393065</c:v>
                </c:pt>
                <c:pt idx="15">
                  <c:v>-0.21126525239835234</c:v>
                </c:pt>
                <c:pt idx="16">
                  <c:v>-0.13952152016825731</c:v>
                </c:pt>
                <c:pt idx="17">
                  <c:v>-0.18446059745088841</c:v>
                </c:pt>
                <c:pt idx="18">
                  <c:v>-0.26674204108110611</c:v>
                </c:pt>
                <c:pt idx="19">
                  <c:v>-0.17448076121335288</c:v>
                </c:pt>
                <c:pt idx="20">
                  <c:v>-0.16201447633523094</c:v>
                </c:pt>
                <c:pt idx="21">
                  <c:v>-0.17387219095506595</c:v>
                </c:pt>
                <c:pt idx="22">
                  <c:v>-0.2426070028393065</c:v>
                </c:pt>
                <c:pt idx="23">
                  <c:v>-0.21126525239835234</c:v>
                </c:pt>
                <c:pt idx="24">
                  <c:v>0.29911073826417867</c:v>
                </c:pt>
                <c:pt idx="25">
                  <c:v>5.9334624707145114</c:v>
                </c:pt>
                <c:pt idx="26">
                  <c:v>2.0365577587288186</c:v>
                </c:pt>
                <c:pt idx="27">
                  <c:v>0.45489936899135242</c:v>
                </c:pt>
                <c:pt idx="28">
                  <c:v>1.1389436101025878</c:v>
                </c:pt>
                <c:pt idx="29">
                  <c:v>1.1517857838672081</c:v>
                </c:pt>
                <c:pt idx="30">
                  <c:v>3.4209793643492774</c:v>
                </c:pt>
                <c:pt idx="31">
                  <c:v>5.8471376933657355</c:v>
                </c:pt>
                <c:pt idx="32">
                  <c:v>1.0118881582168859</c:v>
                </c:pt>
                <c:pt idx="33">
                  <c:v>-0.18446059745088841</c:v>
                </c:pt>
                <c:pt idx="34">
                  <c:v>1.8033122093809779</c:v>
                </c:pt>
                <c:pt idx="35">
                  <c:v>-0.17448076121335288</c:v>
                </c:pt>
                <c:pt idx="36">
                  <c:v>-0.10780788940032161</c:v>
                </c:pt>
                <c:pt idx="37">
                  <c:v>1.1517857838672081</c:v>
                </c:pt>
                <c:pt idx="38">
                  <c:v>0.29300503914732878</c:v>
                </c:pt>
                <c:pt idx="39">
                  <c:v>-0.21126525239835234</c:v>
                </c:pt>
                <c:pt idx="40">
                  <c:v>-0.13952152016825731</c:v>
                </c:pt>
                <c:pt idx="41">
                  <c:v>-0.18446059745088841</c:v>
                </c:pt>
                <c:pt idx="42">
                  <c:v>-0.26674204108110611</c:v>
                </c:pt>
                <c:pt idx="43">
                  <c:v>-0.17448076121335288</c:v>
                </c:pt>
                <c:pt idx="44">
                  <c:v>-0.16201447633523094</c:v>
                </c:pt>
                <c:pt idx="45">
                  <c:v>-0.17387219095506595</c:v>
                </c:pt>
                <c:pt idx="46">
                  <c:v>-0.2426070028393065</c:v>
                </c:pt>
                <c:pt idx="47">
                  <c:v>-0.21126525239835234</c:v>
                </c:pt>
                <c:pt idx="48">
                  <c:v>-0.13952152016825731</c:v>
                </c:pt>
                <c:pt idx="49">
                  <c:v>-0.18446059745088841</c:v>
                </c:pt>
                <c:pt idx="50">
                  <c:v>-0.26674204108110611</c:v>
                </c:pt>
                <c:pt idx="51">
                  <c:v>-0.17448076121335288</c:v>
                </c:pt>
                <c:pt idx="52">
                  <c:v>-0.16201447633523094</c:v>
                </c:pt>
                <c:pt idx="53">
                  <c:v>-0.11074562072543413</c:v>
                </c:pt>
                <c:pt idx="54">
                  <c:v>-0.22118252115984036</c:v>
                </c:pt>
                <c:pt idx="55">
                  <c:v>-0.21126525239835234</c:v>
                </c:pt>
                <c:pt idx="56">
                  <c:v>-0.13952152016825731</c:v>
                </c:pt>
                <c:pt idx="57">
                  <c:v>-0.18446059745088841</c:v>
                </c:pt>
                <c:pt idx="58">
                  <c:v>-0.26674204108110611</c:v>
                </c:pt>
                <c:pt idx="59">
                  <c:v>-0.17448076121335288</c:v>
                </c:pt>
                <c:pt idx="60">
                  <c:v>-0.16201447633523094</c:v>
                </c:pt>
                <c:pt idx="61">
                  <c:v>-0.17387219095506595</c:v>
                </c:pt>
                <c:pt idx="62">
                  <c:v>-0.2426070028393065</c:v>
                </c:pt>
                <c:pt idx="63">
                  <c:v>-0.21126525239835234</c:v>
                </c:pt>
                <c:pt idx="64">
                  <c:v>-0.13952152016825731</c:v>
                </c:pt>
                <c:pt idx="65">
                  <c:v>-0.18446059745088841</c:v>
                </c:pt>
                <c:pt idx="66">
                  <c:v>-9.1807879070226653E-2</c:v>
                </c:pt>
                <c:pt idx="67">
                  <c:v>-0.17448076121335288</c:v>
                </c:pt>
                <c:pt idx="68">
                  <c:v>-0.16201447633523094</c:v>
                </c:pt>
                <c:pt idx="69">
                  <c:v>-0.17387219095506595</c:v>
                </c:pt>
                <c:pt idx="70">
                  <c:v>-0.2426070028393065</c:v>
                </c:pt>
                <c:pt idx="71">
                  <c:v>-0.21126525239835234</c:v>
                </c:pt>
                <c:pt idx="72">
                  <c:v>-0.13952152016825731</c:v>
                </c:pt>
                <c:pt idx="73">
                  <c:v>-0.18446059745088841</c:v>
                </c:pt>
                <c:pt idx="74">
                  <c:v>-0.26674204108110611</c:v>
                </c:pt>
                <c:pt idx="75">
                  <c:v>-0.17448076121335288</c:v>
                </c:pt>
                <c:pt idx="76">
                  <c:v>-0.16201447633523094</c:v>
                </c:pt>
                <c:pt idx="77">
                  <c:v>-0.17387219095506595</c:v>
                </c:pt>
                <c:pt idx="78">
                  <c:v>-0.2426070028393065</c:v>
                </c:pt>
                <c:pt idx="79">
                  <c:v>-0.21126525239835234</c:v>
                </c:pt>
                <c:pt idx="80">
                  <c:v>-0.13952152016825731</c:v>
                </c:pt>
                <c:pt idx="81">
                  <c:v>-0.18446059745088841</c:v>
                </c:pt>
                <c:pt idx="82">
                  <c:v>-0.26674204108110611</c:v>
                </c:pt>
                <c:pt idx="83">
                  <c:v>-0.17448076121335288</c:v>
                </c:pt>
                <c:pt idx="84">
                  <c:v>-0.16201447633523094</c:v>
                </c:pt>
                <c:pt idx="85">
                  <c:v>-0.17387219095506595</c:v>
                </c:pt>
                <c:pt idx="86">
                  <c:v>-0.2426070028393065</c:v>
                </c:pt>
                <c:pt idx="87">
                  <c:v>-0.21126525239835234</c:v>
                </c:pt>
                <c:pt idx="88">
                  <c:v>-0.13952152016825731</c:v>
                </c:pt>
                <c:pt idx="89">
                  <c:v>-0.18446059745088841</c:v>
                </c:pt>
                <c:pt idx="90">
                  <c:v>-0.26674204108110611</c:v>
                </c:pt>
                <c:pt idx="91">
                  <c:v>-0.17448076121335288</c:v>
                </c:pt>
                <c:pt idx="92">
                  <c:v>-0.16201447633523094</c:v>
                </c:pt>
                <c:pt idx="93">
                  <c:v>-0.17387219095506595</c:v>
                </c:pt>
                <c:pt idx="94">
                  <c:v>-0.2426070028393065</c:v>
                </c:pt>
                <c:pt idx="95">
                  <c:v>-0.21126525239835234</c:v>
                </c:pt>
                <c:pt idx="96">
                  <c:v>-0.13952152016825731</c:v>
                </c:pt>
                <c:pt idx="97">
                  <c:v>-0.18446059745088841</c:v>
                </c:pt>
                <c:pt idx="98">
                  <c:v>-0.26674204108110611</c:v>
                </c:pt>
                <c:pt idx="99">
                  <c:v>-0.17448076121335288</c:v>
                </c:pt>
                <c:pt idx="100">
                  <c:v>-0.16201447633523094</c:v>
                </c:pt>
                <c:pt idx="101">
                  <c:v>-0.17387219095506595</c:v>
                </c:pt>
                <c:pt idx="102">
                  <c:v>-0.2426070028393065</c:v>
                </c:pt>
                <c:pt idx="103">
                  <c:v>-0.21126525239835234</c:v>
                </c:pt>
                <c:pt idx="104">
                  <c:v>2.4965576743905732E-2</c:v>
                </c:pt>
                <c:pt idx="105">
                  <c:v>-0.18446059745088841</c:v>
                </c:pt>
                <c:pt idx="106">
                  <c:v>-0.17927496007566671</c:v>
                </c:pt>
                <c:pt idx="107">
                  <c:v>-0.17448076121335288</c:v>
                </c:pt>
                <c:pt idx="108">
                  <c:v>-0.16201447633523094</c:v>
                </c:pt>
                <c:pt idx="109">
                  <c:v>2.2249374777709621</c:v>
                </c:pt>
                <c:pt idx="110">
                  <c:v>1.3856536048000641</c:v>
                </c:pt>
                <c:pt idx="111">
                  <c:v>2.2378763639743675</c:v>
                </c:pt>
                <c:pt idx="112">
                  <c:v>-0.13952152016825731</c:v>
                </c:pt>
                <c:pt idx="113">
                  <c:v>0.88374819222878442</c:v>
                </c:pt>
                <c:pt idx="114">
                  <c:v>2.1531805334027392</c:v>
                </c:pt>
                <c:pt idx="115">
                  <c:v>5.2102159083157815</c:v>
                </c:pt>
                <c:pt idx="116">
                  <c:v>1.8978358271913167</c:v>
                </c:pt>
                <c:pt idx="117">
                  <c:v>-0.17387219095506595</c:v>
                </c:pt>
                <c:pt idx="118">
                  <c:v>2.2212083902992137</c:v>
                </c:pt>
                <c:pt idx="119">
                  <c:v>-0.21126525239835234</c:v>
                </c:pt>
                <c:pt idx="120">
                  <c:v>-0.13952152016825731</c:v>
                </c:pt>
                <c:pt idx="121">
                  <c:v>-0.18446059745088841</c:v>
                </c:pt>
                <c:pt idx="122">
                  <c:v>-0.26674204108110611</c:v>
                </c:pt>
                <c:pt idx="123">
                  <c:v>0.10524374109984962</c:v>
                </c:pt>
                <c:pt idx="124">
                  <c:v>1.0305304362327705</c:v>
                </c:pt>
                <c:pt idx="125">
                  <c:v>0.33114037088199111</c:v>
                </c:pt>
                <c:pt idx="126">
                  <c:v>0.52867433762144944</c:v>
                </c:pt>
                <c:pt idx="127">
                  <c:v>1.7222676026327424</c:v>
                </c:pt>
                <c:pt idx="128">
                  <c:v>-0.13952152016825731</c:v>
                </c:pt>
                <c:pt idx="129">
                  <c:v>0.9808580821996612</c:v>
                </c:pt>
                <c:pt idx="130">
                  <c:v>1.6283780473700977</c:v>
                </c:pt>
                <c:pt idx="131">
                  <c:v>1.1542106247743611</c:v>
                </c:pt>
                <c:pt idx="132">
                  <c:v>-0.10780788940032161</c:v>
                </c:pt>
                <c:pt idx="133">
                  <c:v>0.39426694111162347</c:v>
                </c:pt>
                <c:pt idx="134">
                  <c:v>0.37870296586519125</c:v>
                </c:pt>
                <c:pt idx="135">
                  <c:v>-0.2112652523983523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086-4525-8B78-AE6AA3F6984C}"/>
            </c:ext>
          </c:extLst>
        </c:ser>
        <c:ser>
          <c:idx val="1"/>
          <c:order val="1"/>
          <c:tx>
            <c:strRef>
              <c:f>Κατακρήμνιση!$O$2</c:f>
              <c:strCache>
                <c:ptCount val="1"/>
                <c:pt idx="0">
                  <c:v>3ωρη πρόγνωση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Κατακρήμνιση!$M$3:$M$138</c:f>
              <c:numCache>
                <c:formatCode>d/m/yy\ h:mm;@</c:formatCode>
                <c:ptCount val="136"/>
                <c:pt idx="0">
                  <c:v>38336</c:v>
                </c:pt>
                <c:pt idx="1">
                  <c:v>38336.124999999993</c:v>
                </c:pt>
                <c:pt idx="2">
                  <c:v>38336.25</c:v>
                </c:pt>
                <c:pt idx="3">
                  <c:v>38336.375</c:v>
                </c:pt>
                <c:pt idx="4">
                  <c:v>38336.5</c:v>
                </c:pt>
                <c:pt idx="5">
                  <c:v>38336.624999999993</c:v>
                </c:pt>
                <c:pt idx="6">
                  <c:v>38336.75</c:v>
                </c:pt>
                <c:pt idx="7">
                  <c:v>38336.875</c:v>
                </c:pt>
                <c:pt idx="8">
                  <c:v>38337</c:v>
                </c:pt>
                <c:pt idx="9">
                  <c:v>38337.124999999993</c:v>
                </c:pt>
                <c:pt idx="10">
                  <c:v>38337.25</c:v>
                </c:pt>
                <c:pt idx="11">
                  <c:v>38337.375</c:v>
                </c:pt>
                <c:pt idx="12">
                  <c:v>38337.5</c:v>
                </c:pt>
                <c:pt idx="13">
                  <c:v>38337.624999999993</c:v>
                </c:pt>
                <c:pt idx="14">
                  <c:v>38337.75</c:v>
                </c:pt>
                <c:pt idx="15">
                  <c:v>38337.875</c:v>
                </c:pt>
                <c:pt idx="16">
                  <c:v>38338</c:v>
                </c:pt>
                <c:pt idx="17">
                  <c:v>38338.124999999993</c:v>
                </c:pt>
                <c:pt idx="18">
                  <c:v>38338.25</c:v>
                </c:pt>
                <c:pt idx="19">
                  <c:v>38338.375</c:v>
                </c:pt>
                <c:pt idx="20">
                  <c:v>38338.5</c:v>
                </c:pt>
                <c:pt idx="21">
                  <c:v>38338.624999999993</c:v>
                </c:pt>
                <c:pt idx="22">
                  <c:v>38338.75</c:v>
                </c:pt>
                <c:pt idx="23">
                  <c:v>38338.875</c:v>
                </c:pt>
                <c:pt idx="24">
                  <c:v>38339</c:v>
                </c:pt>
                <c:pt idx="25">
                  <c:v>38339.124999999993</c:v>
                </c:pt>
                <c:pt idx="26">
                  <c:v>38339.25</c:v>
                </c:pt>
                <c:pt idx="27">
                  <c:v>38339.375</c:v>
                </c:pt>
                <c:pt idx="28">
                  <c:v>38339.5</c:v>
                </c:pt>
                <c:pt idx="29">
                  <c:v>38339.624999999993</c:v>
                </c:pt>
                <c:pt idx="30">
                  <c:v>38339.75</c:v>
                </c:pt>
                <c:pt idx="31">
                  <c:v>38339.875</c:v>
                </c:pt>
                <c:pt idx="32">
                  <c:v>38340</c:v>
                </c:pt>
                <c:pt idx="33">
                  <c:v>38340.124999999993</c:v>
                </c:pt>
                <c:pt idx="34">
                  <c:v>38340.25</c:v>
                </c:pt>
                <c:pt idx="35">
                  <c:v>38340.375</c:v>
                </c:pt>
                <c:pt idx="36">
                  <c:v>38340.5</c:v>
                </c:pt>
                <c:pt idx="37">
                  <c:v>38340.624999999993</c:v>
                </c:pt>
                <c:pt idx="38">
                  <c:v>38340.75</c:v>
                </c:pt>
                <c:pt idx="39">
                  <c:v>38340.875</c:v>
                </c:pt>
                <c:pt idx="40">
                  <c:v>38341</c:v>
                </c:pt>
                <c:pt idx="41">
                  <c:v>38341.124999999993</c:v>
                </c:pt>
                <c:pt idx="42">
                  <c:v>38341.25</c:v>
                </c:pt>
                <c:pt idx="43">
                  <c:v>38341.375</c:v>
                </c:pt>
                <c:pt idx="44">
                  <c:v>38341.5</c:v>
                </c:pt>
                <c:pt idx="45">
                  <c:v>38341.624999999993</c:v>
                </c:pt>
                <c:pt idx="46">
                  <c:v>38341.75</c:v>
                </c:pt>
                <c:pt idx="47">
                  <c:v>38341.875</c:v>
                </c:pt>
                <c:pt idx="48">
                  <c:v>38342</c:v>
                </c:pt>
                <c:pt idx="49">
                  <c:v>38342.124999999993</c:v>
                </c:pt>
                <c:pt idx="50">
                  <c:v>38342.25</c:v>
                </c:pt>
                <c:pt idx="51">
                  <c:v>38342.375</c:v>
                </c:pt>
                <c:pt idx="52">
                  <c:v>38342.5</c:v>
                </c:pt>
                <c:pt idx="53">
                  <c:v>38342.624999999993</c:v>
                </c:pt>
                <c:pt idx="54">
                  <c:v>38342.75</c:v>
                </c:pt>
                <c:pt idx="55">
                  <c:v>38342.875</c:v>
                </c:pt>
                <c:pt idx="56">
                  <c:v>38343</c:v>
                </c:pt>
                <c:pt idx="57">
                  <c:v>38343.124999999993</c:v>
                </c:pt>
                <c:pt idx="58">
                  <c:v>38343.25</c:v>
                </c:pt>
                <c:pt idx="59">
                  <c:v>38343.375</c:v>
                </c:pt>
                <c:pt idx="60">
                  <c:v>38343.5</c:v>
                </c:pt>
                <c:pt idx="61">
                  <c:v>38343.624999999993</c:v>
                </c:pt>
                <c:pt idx="62">
                  <c:v>38343.75</c:v>
                </c:pt>
                <c:pt idx="63">
                  <c:v>38343.875</c:v>
                </c:pt>
                <c:pt idx="64">
                  <c:v>38344</c:v>
                </c:pt>
                <c:pt idx="65">
                  <c:v>38344.124999999993</c:v>
                </c:pt>
                <c:pt idx="66">
                  <c:v>38344.25</c:v>
                </c:pt>
                <c:pt idx="67">
                  <c:v>38344.375</c:v>
                </c:pt>
                <c:pt idx="68">
                  <c:v>38344.5</c:v>
                </c:pt>
                <c:pt idx="69">
                  <c:v>38344.624999999993</c:v>
                </c:pt>
                <c:pt idx="70">
                  <c:v>38344.75</c:v>
                </c:pt>
                <c:pt idx="71">
                  <c:v>38344.875</c:v>
                </c:pt>
                <c:pt idx="72">
                  <c:v>38345</c:v>
                </c:pt>
                <c:pt idx="73">
                  <c:v>38345.124999999993</c:v>
                </c:pt>
                <c:pt idx="74">
                  <c:v>38345.25</c:v>
                </c:pt>
                <c:pt idx="75">
                  <c:v>38345.375</c:v>
                </c:pt>
                <c:pt idx="76">
                  <c:v>38345.5</c:v>
                </c:pt>
                <c:pt idx="77">
                  <c:v>38345.624999999993</c:v>
                </c:pt>
                <c:pt idx="78">
                  <c:v>38345.75</c:v>
                </c:pt>
                <c:pt idx="79">
                  <c:v>38345.875</c:v>
                </c:pt>
                <c:pt idx="80">
                  <c:v>38346</c:v>
                </c:pt>
                <c:pt idx="81">
                  <c:v>38346.124999999993</c:v>
                </c:pt>
                <c:pt idx="82">
                  <c:v>38346.25</c:v>
                </c:pt>
                <c:pt idx="83">
                  <c:v>38346.375</c:v>
                </c:pt>
                <c:pt idx="84">
                  <c:v>38346.5</c:v>
                </c:pt>
                <c:pt idx="85">
                  <c:v>38346.624999999993</c:v>
                </c:pt>
                <c:pt idx="86">
                  <c:v>38346.75</c:v>
                </c:pt>
                <c:pt idx="87">
                  <c:v>38346.875</c:v>
                </c:pt>
                <c:pt idx="88">
                  <c:v>38347</c:v>
                </c:pt>
                <c:pt idx="89">
                  <c:v>38347.124999999993</c:v>
                </c:pt>
                <c:pt idx="90">
                  <c:v>38347.25</c:v>
                </c:pt>
                <c:pt idx="91">
                  <c:v>38347.375</c:v>
                </c:pt>
                <c:pt idx="92">
                  <c:v>38347.5</c:v>
                </c:pt>
                <c:pt idx="93">
                  <c:v>38347.624999999993</c:v>
                </c:pt>
                <c:pt idx="94">
                  <c:v>38347.75</c:v>
                </c:pt>
                <c:pt idx="95">
                  <c:v>38347.875</c:v>
                </c:pt>
                <c:pt idx="96">
                  <c:v>38348</c:v>
                </c:pt>
                <c:pt idx="97">
                  <c:v>38348.124999999993</c:v>
                </c:pt>
                <c:pt idx="98">
                  <c:v>38348.25</c:v>
                </c:pt>
                <c:pt idx="99">
                  <c:v>38348.375</c:v>
                </c:pt>
                <c:pt idx="100">
                  <c:v>38348.5</c:v>
                </c:pt>
                <c:pt idx="101">
                  <c:v>38348.624999999993</c:v>
                </c:pt>
                <c:pt idx="102">
                  <c:v>38348.75</c:v>
                </c:pt>
                <c:pt idx="103">
                  <c:v>38348.875</c:v>
                </c:pt>
                <c:pt idx="104">
                  <c:v>38349</c:v>
                </c:pt>
                <c:pt idx="105">
                  <c:v>38349.124999999993</c:v>
                </c:pt>
                <c:pt idx="106">
                  <c:v>38349.25</c:v>
                </c:pt>
                <c:pt idx="107">
                  <c:v>38349.375</c:v>
                </c:pt>
                <c:pt idx="108">
                  <c:v>38349.5</c:v>
                </c:pt>
                <c:pt idx="109">
                  <c:v>38349.624999999993</c:v>
                </c:pt>
                <c:pt idx="110">
                  <c:v>38349.75</c:v>
                </c:pt>
                <c:pt idx="111">
                  <c:v>38349.875</c:v>
                </c:pt>
                <c:pt idx="112">
                  <c:v>38350</c:v>
                </c:pt>
                <c:pt idx="113">
                  <c:v>38350.124999999993</c:v>
                </c:pt>
                <c:pt idx="114">
                  <c:v>38350.25</c:v>
                </c:pt>
                <c:pt idx="115">
                  <c:v>38350.375</c:v>
                </c:pt>
                <c:pt idx="116">
                  <c:v>38350.5</c:v>
                </c:pt>
                <c:pt idx="117">
                  <c:v>38350.624999999993</c:v>
                </c:pt>
                <c:pt idx="118">
                  <c:v>38350.75</c:v>
                </c:pt>
                <c:pt idx="119">
                  <c:v>38350.875</c:v>
                </c:pt>
                <c:pt idx="120">
                  <c:v>38351</c:v>
                </c:pt>
                <c:pt idx="121">
                  <c:v>38351.124999999993</c:v>
                </c:pt>
                <c:pt idx="122">
                  <c:v>38351.25</c:v>
                </c:pt>
                <c:pt idx="123">
                  <c:v>38351.375</c:v>
                </c:pt>
                <c:pt idx="124">
                  <c:v>38351.5</c:v>
                </c:pt>
                <c:pt idx="125">
                  <c:v>38351.624999999993</c:v>
                </c:pt>
                <c:pt idx="126">
                  <c:v>38351.75</c:v>
                </c:pt>
                <c:pt idx="127">
                  <c:v>38351.875</c:v>
                </c:pt>
                <c:pt idx="128">
                  <c:v>38352</c:v>
                </c:pt>
                <c:pt idx="129">
                  <c:v>38352.124999999993</c:v>
                </c:pt>
                <c:pt idx="130">
                  <c:v>38352.25</c:v>
                </c:pt>
                <c:pt idx="131">
                  <c:v>38352.375</c:v>
                </c:pt>
                <c:pt idx="132">
                  <c:v>38352.5</c:v>
                </c:pt>
                <c:pt idx="133">
                  <c:v>38352.624999999993</c:v>
                </c:pt>
                <c:pt idx="134">
                  <c:v>38352.75</c:v>
                </c:pt>
                <c:pt idx="135">
                  <c:v>38352.875</c:v>
                </c:pt>
              </c:numCache>
            </c:numRef>
          </c:xVal>
          <c:yVal>
            <c:numRef>
              <c:f>Κατακρήμνιση!$O$3:$O$138</c:f>
              <c:numCache>
                <c:formatCode>General</c:formatCode>
                <c:ptCount val="136"/>
                <c:pt idx="0">
                  <c:v>-0.11538182058117359</c:v>
                </c:pt>
                <c:pt idx="1">
                  <c:v>-9.3416344696277728E-2</c:v>
                </c:pt>
                <c:pt idx="2">
                  <c:v>-9.6963819539519894E-2</c:v>
                </c:pt>
                <c:pt idx="3">
                  <c:v>-0.12428921268607679</c:v>
                </c:pt>
                <c:pt idx="4">
                  <c:v>-0.10672904683042272</c:v>
                </c:pt>
                <c:pt idx="5">
                  <c:v>-9.8008040180928999E-2</c:v>
                </c:pt>
                <c:pt idx="6">
                  <c:v>-9.3741884161119546E-2</c:v>
                </c:pt>
                <c:pt idx="7">
                  <c:v>-0.11644064932556156</c:v>
                </c:pt>
                <c:pt idx="8">
                  <c:v>-0.11538182058117359</c:v>
                </c:pt>
                <c:pt idx="9">
                  <c:v>-9.3416344696277728E-2</c:v>
                </c:pt>
                <c:pt idx="10">
                  <c:v>-9.6963819539519894E-2</c:v>
                </c:pt>
                <c:pt idx="11">
                  <c:v>-0.12428921268607679</c:v>
                </c:pt>
                <c:pt idx="12">
                  <c:v>-0.10672904683042272</c:v>
                </c:pt>
                <c:pt idx="13">
                  <c:v>-9.8008040180928999E-2</c:v>
                </c:pt>
                <c:pt idx="14">
                  <c:v>-9.3741884161119546E-2</c:v>
                </c:pt>
                <c:pt idx="15">
                  <c:v>-0.11644064932556156</c:v>
                </c:pt>
                <c:pt idx="16">
                  <c:v>-0.11538182058117359</c:v>
                </c:pt>
                <c:pt idx="17">
                  <c:v>-9.3416344696277728E-2</c:v>
                </c:pt>
                <c:pt idx="18">
                  <c:v>-9.6963819539519894E-2</c:v>
                </c:pt>
                <c:pt idx="19">
                  <c:v>-0.12428921268607679</c:v>
                </c:pt>
                <c:pt idx="20">
                  <c:v>-0.10672904683042272</c:v>
                </c:pt>
                <c:pt idx="21">
                  <c:v>-9.8008040180928999E-2</c:v>
                </c:pt>
                <c:pt idx="22">
                  <c:v>-9.3741884161119546E-2</c:v>
                </c:pt>
                <c:pt idx="23">
                  <c:v>-0.11644064932556156</c:v>
                </c:pt>
                <c:pt idx="24">
                  <c:v>-0.11538182058117359</c:v>
                </c:pt>
                <c:pt idx="25">
                  <c:v>5.3355618056593501E-2</c:v>
                </c:pt>
                <c:pt idx="26">
                  <c:v>2.0014067151719712</c:v>
                </c:pt>
                <c:pt idx="27">
                  <c:v>1.3929330393388</c:v>
                </c:pt>
                <c:pt idx="28">
                  <c:v>0.81775265368303496</c:v>
                </c:pt>
                <c:pt idx="29">
                  <c:v>0.578300907665107</c:v>
                </c:pt>
                <c:pt idx="30">
                  <c:v>0.5475640368382142</c:v>
                </c:pt>
                <c:pt idx="31">
                  <c:v>1.3626931570695138</c:v>
                </c:pt>
                <c:pt idx="32">
                  <c:v>2.4894326897960903</c:v>
                </c:pt>
                <c:pt idx="33">
                  <c:v>1.2876181802173539</c:v>
                </c:pt>
                <c:pt idx="34">
                  <c:v>0.48582655527449786</c:v>
                </c:pt>
                <c:pt idx="35">
                  <c:v>0.68694491117167711</c:v>
                </c:pt>
                <c:pt idx="36">
                  <c:v>0.15636582907933591</c:v>
                </c:pt>
                <c:pt idx="37">
                  <c:v>0.1139149918227761</c:v>
                </c:pt>
                <c:pt idx="38">
                  <c:v>0.41823649306927152</c:v>
                </c:pt>
                <c:pt idx="39">
                  <c:v>0.24171332681013752</c:v>
                </c:pt>
                <c:pt idx="40">
                  <c:v>6.0670795333097417E-2</c:v>
                </c:pt>
                <c:pt idx="41">
                  <c:v>-1.1209438054293322E-2</c:v>
                </c:pt>
                <c:pt idx="42">
                  <c:v>-8.5681167744671646E-2</c:v>
                </c:pt>
                <c:pt idx="43">
                  <c:v>-0.10632436837496365</c:v>
                </c:pt>
                <c:pt idx="44">
                  <c:v>-7.8516682915586597E-2</c:v>
                </c:pt>
                <c:pt idx="45">
                  <c:v>-8.8702681533750105E-2</c:v>
                </c:pt>
                <c:pt idx="46">
                  <c:v>-8.797836613224555E-2</c:v>
                </c:pt>
                <c:pt idx="47">
                  <c:v>-0.10905834453511642</c:v>
                </c:pt>
                <c:pt idx="48">
                  <c:v>-0.10568249483443315</c:v>
                </c:pt>
                <c:pt idx="49">
                  <c:v>-6.4135348234326664E-2</c:v>
                </c:pt>
                <c:pt idx="50">
                  <c:v>-8.5417493337423545E-2</c:v>
                </c:pt>
                <c:pt idx="51">
                  <c:v>-0.12143765061916505</c:v>
                </c:pt>
                <c:pt idx="52">
                  <c:v>-9.9963304935061226E-2</c:v>
                </c:pt>
                <c:pt idx="53">
                  <c:v>-9.3292094811486828E-2</c:v>
                </c:pt>
                <c:pt idx="54">
                  <c:v>-6.1909437760212835E-2</c:v>
                </c:pt>
                <c:pt idx="55">
                  <c:v>-8.2511678380614364E-2</c:v>
                </c:pt>
                <c:pt idx="56">
                  <c:v>-0.10367442977097484</c:v>
                </c:pt>
                <c:pt idx="57">
                  <c:v>-9.1634215811663797E-2</c:v>
                </c:pt>
                <c:pt idx="58">
                  <c:v>-9.0953562443277652E-2</c:v>
                </c:pt>
                <c:pt idx="59">
                  <c:v>-0.12428921268607679</c:v>
                </c:pt>
                <c:pt idx="60">
                  <c:v>-0.10602323056848578</c:v>
                </c:pt>
                <c:pt idx="61">
                  <c:v>-9.3955405480809814E-2</c:v>
                </c:pt>
                <c:pt idx="62">
                  <c:v>-9.2180816549955913E-2</c:v>
                </c:pt>
                <c:pt idx="63">
                  <c:v>-0.11619951454796207</c:v>
                </c:pt>
                <c:pt idx="64">
                  <c:v>-0.11529998202086261</c:v>
                </c:pt>
                <c:pt idx="65">
                  <c:v>-9.3326912093023962E-2</c:v>
                </c:pt>
                <c:pt idx="66">
                  <c:v>-9.6933467072040827E-2</c:v>
                </c:pt>
                <c:pt idx="67">
                  <c:v>-6.5728197370499397E-2</c:v>
                </c:pt>
                <c:pt idx="68">
                  <c:v>-8.6286783636608119E-2</c:v>
                </c:pt>
                <c:pt idx="69">
                  <c:v>-8.5288356118503647E-2</c:v>
                </c:pt>
                <c:pt idx="70">
                  <c:v>-9.3741884161119546E-2</c:v>
                </c:pt>
                <c:pt idx="71">
                  <c:v>-0.11635619215266707</c:v>
                </c:pt>
                <c:pt idx="72">
                  <c:v>-0.11532671773279353</c:v>
                </c:pt>
                <c:pt idx="73">
                  <c:v>-9.1887577942467963E-2</c:v>
                </c:pt>
                <c:pt idx="74">
                  <c:v>-9.6915190555365238E-2</c:v>
                </c:pt>
                <c:pt idx="75">
                  <c:v>-0.12428921268607679</c:v>
                </c:pt>
                <c:pt idx="76">
                  <c:v>-0.10606082249798079</c:v>
                </c:pt>
                <c:pt idx="77">
                  <c:v>-9.7824756618867803E-2</c:v>
                </c:pt>
                <c:pt idx="78">
                  <c:v>-9.3431847155259803E-2</c:v>
                </c:pt>
                <c:pt idx="79">
                  <c:v>-0.11644064932556156</c:v>
                </c:pt>
                <c:pt idx="80">
                  <c:v>-0.11531030315674876</c:v>
                </c:pt>
                <c:pt idx="81">
                  <c:v>-9.3416344696277728E-2</c:v>
                </c:pt>
                <c:pt idx="82">
                  <c:v>-9.6963819539519894E-2</c:v>
                </c:pt>
                <c:pt idx="83">
                  <c:v>-0.12428921268607679</c:v>
                </c:pt>
                <c:pt idx="84">
                  <c:v>-0.1064950020421138</c:v>
                </c:pt>
                <c:pt idx="85">
                  <c:v>-9.7934773372520698E-2</c:v>
                </c:pt>
                <c:pt idx="86">
                  <c:v>-9.3741884161119546E-2</c:v>
                </c:pt>
                <c:pt idx="87">
                  <c:v>-0.11644064932556156</c:v>
                </c:pt>
                <c:pt idx="88">
                  <c:v>-0.11538182058117359</c:v>
                </c:pt>
                <c:pt idx="89">
                  <c:v>-9.3416344696277728E-2</c:v>
                </c:pt>
                <c:pt idx="90">
                  <c:v>-9.6455910489133198E-2</c:v>
                </c:pt>
                <c:pt idx="91">
                  <c:v>-0.12428921268607679</c:v>
                </c:pt>
                <c:pt idx="92">
                  <c:v>-0.10672904683042272</c:v>
                </c:pt>
                <c:pt idx="93">
                  <c:v>-9.8008040180928999E-2</c:v>
                </c:pt>
                <c:pt idx="94">
                  <c:v>-9.3741884161119546E-2</c:v>
                </c:pt>
                <c:pt idx="95">
                  <c:v>-0.11644064932556156</c:v>
                </c:pt>
                <c:pt idx="96">
                  <c:v>-0.11538182058117359</c:v>
                </c:pt>
                <c:pt idx="97">
                  <c:v>-9.3416344696277728E-2</c:v>
                </c:pt>
                <c:pt idx="98">
                  <c:v>-9.6963819539519894E-2</c:v>
                </c:pt>
                <c:pt idx="99">
                  <c:v>-0.12428921268607679</c:v>
                </c:pt>
                <c:pt idx="100">
                  <c:v>-0.10672904683042272</c:v>
                </c:pt>
                <c:pt idx="101">
                  <c:v>-9.8008040180928999E-2</c:v>
                </c:pt>
                <c:pt idx="102">
                  <c:v>-9.3741884161119546E-2</c:v>
                </c:pt>
                <c:pt idx="103">
                  <c:v>-0.11644064932556156</c:v>
                </c:pt>
                <c:pt idx="104">
                  <c:v>-0.11538182058117359</c:v>
                </c:pt>
                <c:pt idx="105">
                  <c:v>-3.8376858663950984E-2</c:v>
                </c:pt>
                <c:pt idx="106">
                  <c:v>-7.7750603727036086E-2</c:v>
                </c:pt>
                <c:pt idx="107">
                  <c:v>-8.3061544129661671E-2</c:v>
                </c:pt>
                <c:pt idx="108">
                  <c:v>-9.6512294663272755E-2</c:v>
                </c:pt>
                <c:pt idx="109">
                  <c:v>-9.1648198149716226E-2</c:v>
                </c:pt>
                <c:pt idx="110">
                  <c:v>0.70893050616357689</c:v>
                </c:pt>
                <c:pt idx="111">
                  <c:v>0.71002254833434086</c:v>
                </c:pt>
                <c:pt idx="112">
                  <c:v>1.0687904458897384</c:v>
                </c:pt>
                <c:pt idx="113">
                  <c:v>0.31181289945398105</c:v>
                </c:pt>
                <c:pt idx="114">
                  <c:v>0.43920531686321196</c:v>
                </c:pt>
                <c:pt idx="115">
                  <c:v>0.81022190479450962</c:v>
                </c:pt>
                <c:pt idx="116">
                  <c:v>2.0768011360154173</c:v>
                </c:pt>
                <c:pt idx="117">
                  <c:v>1.4109820122051502</c:v>
                </c:pt>
                <c:pt idx="118">
                  <c:v>0.56031225027134957</c:v>
                </c:pt>
                <c:pt idx="119">
                  <c:v>0.86760175211998969</c:v>
                </c:pt>
                <c:pt idx="120">
                  <c:v>0.18794451437778559</c:v>
                </c:pt>
                <c:pt idx="121">
                  <c:v>0.11980536628167179</c:v>
                </c:pt>
                <c:pt idx="122">
                  <c:v>-4.6983076259873732E-2</c:v>
                </c:pt>
                <c:pt idx="123">
                  <c:v>-9.6297036255151694E-2</c:v>
                </c:pt>
                <c:pt idx="124">
                  <c:v>-2.5305792443040538E-3</c:v>
                </c:pt>
                <c:pt idx="125">
                  <c:v>0.37823166533889602</c:v>
                </c:pt>
                <c:pt idx="126">
                  <c:v>0.24685988203683754</c:v>
                </c:pt>
                <c:pt idx="127">
                  <c:v>0.29861499718276463</c:v>
                </c:pt>
                <c:pt idx="128">
                  <c:v>0.67539372492091021</c:v>
                </c:pt>
                <c:pt idx="129">
                  <c:v>0.1946743992419635</c:v>
                </c:pt>
                <c:pt idx="130">
                  <c:v>0.44159889010583731</c:v>
                </c:pt>
                <c:pt idx="131">
                  <c:v>0.65782689394071292</c:v>
                </c:pt>
                <c:pt idx="132">
                  <c:v>0.65337407969289785</c:v>
                </c:pt>
                <c:pt idx="133">
                  <c:v>0.23621911082481492</c:v>
                </c:pt>
                <c:pt idx="134">
                  <c:v>0.23061384336247692</c:v>
                </c:pt>
                <c:pt idx="135">
                  <c:v>0.17259805874976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1086-4525-8B78-AE6AA3F6984C}"/>
            </c:ext>
          </c:extLst>
        </c:ser>
        <c:ser>
          <c:idx val="2"/>
          <c:order val="2"/>
          <c:tx>
            <c:strRef>
              <c:f>Κατακρήμνιση!$P$2</c:f>
              <c:strCache>
                <c:ptCount val="1"/>
                <c:pt idx="0">
                  <c:v>6ωρη πρόγνωση</c:v>
                </c:pt>
              </c:strCache>
            </c:strRef>
          </c:tx>
          <c:spPr>
            <a:ln w="190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xVal>
            <c:numRef>
              <c:f>Κατακρήμνιση!$M$3:$M$138</c:f>
              <c:numCache>
                <c:formatCode>d/m/yy\ h:mm;@</c:formatCode>
                <c:ptCount val="136"/>
                <c:pt idx="0">
                  <c:v>38336</c:v>
                </c:pt>
                <c:pt idx="1">
                  <c:v>38336.124999999993</c:v>
                </c:pt>
                <c:pt idx="2">
                  <c:v>38336.25</c:v>
                </c:pt>
                <c:pt idx="3">
                  <c:v>38336.375</c:v>
                </c:pt>
                <c:pt idx="4">
                  <c:v>38336.5</c:v>
                </c:pt>
                <c:pt idx="5">
                  <c:v>38336.624999999993</c:v>
                </c:pt>
                <c:pt idx="6">
                  <c:v>38336.75</c:v>
                </c:pt>
                <c:pt idx="7">
                  <c:v>38336.875</c:v>
                </c:pt>
                <c:pt idx="8">
                  <c:v>38337</c:v>
                </c:pt>
                <c:pt idx="9">
                  <c:v>38337.124999999993</c:v>
                </c:pt>
                <c:pt idx="10">
                  <c:v>38337.25</c:v>
                </c:pt>
                <c:pt idx="11">
                  <c:v>38337.375</c:v>
                </c:pt>
                <c:pt idx="12">
                  <c:v>38337.5</c:v>
                </c:pt>
                <c:pt idx="13">
                  <c:v>38337.624999999993</c:v>
                </c:pt>
                <c:pt idx="14">
                  <c:v>38337.75</c:v>
                </c:pt>
                <c:pt idx="15">
                  <c:v>38337.875</c:v>
                </c:pt>
                <c:pt idx="16">
                  <c:v>38338</c:v>
                </c:pt>
                <c:pt idx="17">
                  <c:v>38338.124999999993</c:v>
                </c:pt>
                <c:pt idx="18">
                  <c:v>38338.25</c:v>
                </c:pt>
                <c:pt idx="19">
                  <c:v>38338.375</c:v>
                </c:pt>
                <c:pt idx="20">
                  <c:v>38338.5</c:v>
                </c:pt>
                <c:pt idx="21">
                  <c:v>38338.624999999993</c:v>
                </c:pt>
                <c:pt idx="22">
                  <c:v>38338.75</c:v>
                </c:pt>
                <c:pt idx="23">
                  <c:v>38338.875</c:v>
                </c:pt>
                <c:pt idx="24">
                  <c:v>38339</c:v>
                </c:pt>
                <c:pt idx="25">
                  <c:v>38339.124999999993</c:v>
                </c:pt>
                <c:pt idx="26">
                  <c:v>38339.25</c:v>
                </c:pt>
                <c:pt idx="27">
                  <c:v>38339.375</c:v>
                </c:pt>
                <c:pt idx="28">
                  <c:v>38339.5</c:v>
                </c:pt>
                <c:pt idx="29">
                  <c:v>38339.624999999993</c:v>
                </c:pt>
                <c:pt idx="30">
                  <c:v>38339.75</c:v>
                </c:pt>
                <c:pt idx="31">
                  <c:v>38339.875</c:v>
                </c:pt>
                <c:pt idx="32">
                  <c:v>38340</c:v>
                </c:pt>
                <c:pt idx="33">
                  <c:v>38340.124999999993</c:v>
                </c:pt>
                <c:pt idx="34">
                  <c:v>38340.25</c:v>
                </c:pt>
                <c:pt idx="35">
                  <c:v>38340.375</c:v>
                </c:pt>
                <c:pt idx="36">
                  <c:v>38340.5</c:v>
                </c:pt>
                <c:pt idx="37">
                  <c:v>38340.624999999993</c:v>
                </c:pt>
                <c:pt idx="38">
                  <c:v>38340.75</c:v>
                </c:pt>
                <c:pt idx="39">
                  <c:v>38340.875</c:v>
                </c:pt>
                <c:pt idx="40">
                  <c:v>38341</c:v>
                </c:pt>
                <c:pt idx="41">
                  <c:v>38341.124999999993</c:v>
                </c:pt>
                <c:pt idx="42">
                  <c:v>38341.25</c:v>
                </c:pt>
                <c:pt idx="43">
                  <c:v>38341.375</c:v>
                </c:pt>
                <c:pt idx="44">
                  <c:v>38341.5</c:v>
                </c:pt>
                <c:pt idx="45">
                  <c:v>38341.624999999993</c:v>
                </c:pt>
                <c:pt idx="46">
                  <c:v>38341.75</c:v>
                </c:pt>
                <c:pt idx="47">
                  <c:v>38341.875</c:v>
                </c:pt>
                <c:pt idx="48">
                  <c:v>38342</c:v>
                </c:pt>
                <c:pt idx="49">
                  <c:v>38342.124999999993</c:v>
                </c:pt>
                <c:pt idx="50">
                  <c:v>38342.25</c:v>
                </c:pt>
                <c:pt idx="51">
                  <c:v>38342.375</c:v>
                </c:pt>
                <c:pt idx="52">
                  <c:v>38342.5</c:v>
                </c:pt>
                <c:pt idx="53">
                  <c:v>38342.624999999993</c:v>
                </c:pt>
                <c:pt idx="54">
                  <c:v>38342.75</c:v>
                </c:pt>
                <c:pt idx="55">
                  <c:v>38342.875</c:v>
                </c:pt>
                <c:pt idx="56">
                  <c:v>38343</c:v>
                </c:pt>
                <c:pt idx="57">
                  <c:v>38343.124999999993</c:v>
                </c:pt>
                <c:pt idx="58">
                  <c:v>38343.25</c:v>
                </c:pt>
                <c:pt idx="59">
                  <c:v>38343.375</c:v>
                </c:pt>
                <c:pt idx="60">
                  <c:v>38343.5</c:v>
                </c:pt>
                <c:pt idx="61">
                  <c:v>38343.624999999993</c:v>
                </c:pt>
                <c:pt idx="62">
                  <c:v>38343.75</c:v>
                </c:pt>
                <c:pt idx="63">
                  <c:v>38343.875</c:v>
                </c:pt>
                <c:pt idx="64">
                  <c:v>38344</c:v>
                </c:pt>
                <c:pt idx="65">
                  <c:v>38344.124999999993</c:v>
                </c:pt>
                <c:pt idx="66">
                  <c:v>38344.25</c:v>
                </c:pt>
                <c:pt idx="67">
                  <c:v>38344.375</c:v>
                </c:pt>
                <c:pt idx="68">
                  <c:v>38344.5</c:v>
                </c:pt>
                <c:pt idx="69">
                  <c:v>38344.624999999993</c:v>
                </c:pt>
                <c:pt idx="70">
                  <c:v>38344.75</c:v>
                </c:pt>
                <c:pt idx="71">
                  <c:v>38344.875</c:v>
                </c:pt>
                <c:pt idx="72">
                  <c:v>38345</c:v>
                </c:pt>
                <c:pt idx="73">
                  <c:v>38345.124999999993</c:v>
                </c:pt>
                <c:pt idx="74">
                  <c:v>38345.25</c:v>
                </c:pt>
                <c:pt idx="75">
                  <c:v>38345.375</c:v>
                </c:pt>
                <c:pt idx="76">
                  <c:v>38345.5</c:v>
                </c:pt>
                <c:pt idx="77">
                  <c:v>38345.624999999993</c:v>
                </c:pt>
                <c:pt idx="78">
                  <c:v>38345.75</c:v>
                </c:pt>
                <c:pt idx="79">
                  <c:v>38345.875</c:v>
                </c:pt>
                <c:pt idx="80">
                  <c:v>38346</c:v>
                </c:pt>
                <c:pt idx="81">
                  <c:v>38346.124999999993</c:v>
                </c:pt>
                <c:pt idx="82">
                  <c:v>38346.25</c:v>
                </c:pt>
                <c:pt idx="83">
                  <c:v>38346.375</c:v>
                </c:pt>
                <c:pt idx="84">
                  <c:v>38346.5</c:v>
                </c:pt>
                <c:pt idx="85">
                  <c:v>38346.624999999993</c:v>
                </c:pt>
                <c:pt idx="86">
                  <c:v>38346.75</c:v>
                </c:pt>
                <c:pt idx="87">
                  <c:v>38346.875</c:v>
                </c:pt>
                <c:pt idx="88">
                  <c:v>38347</c:v>
                </c:pt>
                <c:pt idx="89">
                  <c:v>38347.124999999993</c:v>
                </c:pt>
                <c:pt idx="90">
                  <c:v>38347.25</c:v>
                </c:pt>
                <c:pt idx="91">
                  <c:v>38347.375</c:v>
                </c:pt>
                <c:pt idx="92">
                  <c:v>38347.5</c:v>
                </c:pt>
                <c:pt idx="93">
                  <c:v>38347.624999999993</c:v>
                </c:pt>
                <c:pt idx="94">
                  <c:v>38347.75</c:v>
                </c:pt>
                <c:pt idx="95">
                  <c:v>38347.875</c:v>
                </c:pt>
                <c:pt idx="96">
                  <c:v>38348</c:v>
                </c:pt>
                <c:pt idx="97">
                  <c:v>38348.124999999993</c:v>
                </c:pt>
                <c:pt idx="98">
                  <c:v>38348.25</c:v>
                </c:pt>
                <c:pt idx="99">
                  <c:v>38348.375</c:v>
                </c:pt>
                <c:pt idx="100">
                  <c:v>38348.5</c:v>
                </c:pt>
                <c:pt idx="101">
                  <c:v>38348.624999999993</c:v>
                </c:pt>
                <c:pt idx="102">
                  <c:v>38348.75</c:v>
                </c:pt>
                <c:pt idx="103">
                  <c:v>38348.875</c:v>
                </c:pt>
                <c:pt idx="104">
                  <c:v>38349</c:v>
                </c:pt>
                <c:pt idx="105">
                  <c:v>38349.124999999993</c:v>
                </c:pt>
                <c:pt idx="106">
                  <c:v>38349.25</c:v>
                </c:pt>
                <c:pt idx="107">
                  <c:v>38349.375</c:v>
                </c:pt>
                <c:pt idx="108">
                  <c:v>38349.5</c:v>
                </c:pt>
                <c:pt idx="109">
                  <c:v>38349.624999999993</c:v>
                </c:pt>
                <c:pt idx="110">
                  <c:v>38349.75</c:v>
                </c:pt>
                <c:pt idx="111">
                  <c:v>38349.875</c:v>
                </c:pt>
                <c:pt idx="112">
                  <c:v>38350</c:v>
                </c:pt>
                <c:pt idx="113">
                  <c:v>38350.124999999993</c:v>
                </c:pt>
                <c:pt idx="114">
                  <c:v>38350.25</c:v>
                </c:pt>
                <c:pt idx="115">
                  <c:v>38350.375</c:v>
                </c:pt>
                <c:pt idx="116">
                  <c:v>38350.5</c:v>
                </c:pt>
                <c:pt idx="117">
                  <c:v>38350.624999999993</c:v>
                </c:pt>
                <c:pt idx="118">
                  <c:v>38350.75</c:v>
                </c:pt>
                <c:pt idx="119">
                  <c:v>38350.875</c:v>
                </c:pt>
                <c:pt idx="120">
                  <c:v>38351</c:v>
                </c:pt>
                <c:pt idx="121">
                  <c:v>38351.124999999993</c:v>
                </c:pt>
                <c:pt idx="122">
                  <c:v>38351.25</c:v>
                </c:pt>
                <c:pt idx="123">
                  <c:v>38351.375</c:v>
                </c:pt>
                <c:pt idx="124">
                  <c:v>38351.5</c:v>
                </c:pt>
                <c:pt idx="125">
                  <c:v>38351.624999999993</c:v>
                </c:pt>
                <c:pt idx="126">
                  <c:v>38351.75</c:v>
                </c:pt>
                <c:pt idx="127">
                  <c:v>38351.875</c:v>
                </c:pt>
                <c:pt idx="128">
                  <c:v>38352</c:v>
                </c:pt>
                <c:pt idx="129">
                  <c:v>38352.124999999993</c:v>
                </c:pt>
                <c:pt idx="130">
                  <c:v>38352.25</c:v>
                </c:pt>
                <c:pt idx="131">
                  <c:v>38352.375</c:v>
                </c:pt>
                <c:pt idx="132">
                  <c:v>38352.5</c:v>
                </c:pt>
                <c:pt idx="133">
                  <c:v>38352.624999999993</c:v>
                </c:pt>
                <c:pt idx="134">
                  <c:v>38352.75</c:v>
                </c:pt>
                <c:pt idx="135">
                  <c:v>38352.875</c:v>
                </c:pt>
              </c:numCache>
            </c:numRef>
          </c:xVal>
          <c:yVal>
            <c:numRef>
              <c:f>Κατακρήμνιση!$P$3:$P$138</c:f>
              <c:numCache>
                <c:formatCode>General</c:formatCode>
                <c:ptCount val="136"/>
                <c:pt idx="0">
                  <c:v>-8.1735357683754783E-2</c:v>
                </c:pt>
                <c:pt idx="1">
                  <c:v>-8.3908392488875924E-2</c:v>
                </c:pt>
                <c:pt idx="2">
                  <c:v>-6.2916935192555923E-2</c:v>
                </c:pt>
                <c:pt idx="3">
                  <c:v>-6.3950338912997673E-2</c:v>
                </c:pt>
                <c:pt idx="4">
                  <c:v>-8.8733002118903767E-2</c:v>
                </c:pt>
                <c:pt idx="5">
                  <c:v>-7.7823351763821713E-2</c:v>
                </c:pt>
                <c:pt idx="6">
                  <c:v>-6.4033520853997231E-2</c:v>
                </c:pt>
                <c:pt idx="7">
                  <c:v>-6.4139332156916432E-2</c:v>
                </c:pt>
                <c:pt idx="8">
                  <c:v>-8.1735357683754783E-2</c:v>
                </c:pt>
                <c:pt idx="9">
                  <c:v>-8.3908392488875924E-2</c:v>
                </c:pt>
                <c:pt idx="10">
                  <c:v>-6.2916935192555923E-2</c:v>
                </c:pt>
                <c:pt idx="11">
                  <c:v>-6.3950338912997673E-2</c:v>
                </c:pt>
                <c:pt idx="12">
                  <c:v>-8.8733002118903767E-2</c:v>
                </c:pt>
                <c:pt idx="13">
                  <c:v>-7.7823351763821713E-2</c:v>
                </c:pt>
                <c:pt idx="14">
                  <c:v>-6.4033520853997231E-2</c:v>
                </c:pt>
                <c:pt idx="15">
                  <c:v>-6.4139332156916432E-2</c:v>
                </c:pt>
                <c:pt idx="16">
                  <c:v>-8.1735357683754783E-2</c:v>
                </c:pt>
                <c:pt idx="17">
                  <c:v>-8.3908392488875924E-2</c:v>
                </c:pt>
                <c:pt idx="18">
                  <c:v>-6.2916935192555923E-2</c:v>
                </c:pt>
                <c:pt idx="19">
                  <c:v>-6.3950338912997673E-2</c:v>
                </c:pt>
                <c:pt idx="20">
                  <c:v>-8.8733002118903767E-2</c:v>
                </c:pt>
                <c:pt idx="21">
                  <c:v>-7.7823351763821713E-2</c:v>
                </c:pt>
                <c:pt idx="22">
                  <c:v>-6.4033520853997231E-2</c:v>
                </c:pt>
                <c:pt idx="23">
                  <c:v>-6.4139332156916432E-2</c:v>
                </c:pt>
                <c:pt idx="24">
                  <c:v>-8.1735357683754783E-2</c:v>
                </c:pt>
                <c:pt idx="25">
                  <c:v>-8.3908392488875924E-2</c:v>
                </c:pt>
                <c:pt idx="26">
                  <c:v>3.8925505592096087E-2</c:v>
                </c:pt>
                <c:pt idx="27">
                  <c:v>1.409143882394553</c:v>
                </c:pt>
                <c:pt idx="28">
                  <c:v>1.180031577515906</c:v>
                </c:pt>
                <c:pt idx="29">
                  <c:v>0.34463904468193207</c:v>
                </c:pt>
                <c:pt idx="30">
                  <c:v>0.31353337940964915</c:v>
                </c:pt>
                <c:pt idx="31">
                  <c:v>0.40445876528318286</c:v>
                </c:pt>
                <c:pt idx="32">
                  <c:v>0.99594453003598571</c:v>
                </c:pt>
                <c:pt idx="33">
                  <c:v>1.8164729855538024</c:v>
                </c:pt>
                <c:pt idx="34">
                  <c:v>0.95046457169388165</c:v>
                </c:pt>
                <c:pt idx="35">
                  <c:v>0.11021111601405968</c:v>
                </c:pt>
                <c:pt idx="36">
                  <c:v>0.4204108135034374</c:v>
                </c:pt>
                <c:pt idx="37">
                  <c:v>0.2299762334694917</c:v>
                </c:pt>
                <c:pt idx="38">
                  <c:v>3.9848278367905096E-2</c:v>
                </c:pt>
                <c:pt idx="39">
                  <c:v>0.29697690569440149</c:v>
                </c:pt>
                <c:pt idx="40">
                  <c:v>0.22104490107896121</c:v>
                </c:pt>
                <c:pt idx="41">
                  <c:v>2.3979101688986312E-2</c:v>
                </c:pt>
                <c:pt idx="42">
                  <c:v>-4.1993877224844982E-2</c:v>
                </c:pt>
                <c:pt idx="43">
                  <c:v>-4.5362806347649512E-2</c:v>
                </c:pt>
                <c:pt idx="44">
                  <c:v>-5.5876838231181433E-2</c:v>
                </c:pt>
                <c:pt idx="45">
                  <c:v>-6.2265130521868481E-2</c:v>
                </c:pt>
                <c:pt idx="46">
                  <c:v>-5.5320052258722413E-2</c:v>
                </c:pt>
                <c:pt idx="47">
                  <c:v>-5.7154753423087762E-2</c:v>
                </c:pt>
                <c:pt idx="48">
                  <c:v>-7.3609808538014465E-2</c:v>
                </c:pt>
                <c:pt idx="49">
                  <c:v>-5.4364124047039677E-2</c:v>
                </c:pt>
                <c:pt idx="50">
                  <c:v>-4.7107702247755109E-2</c:v>
                </c:pt>
                <c:pt idx="51">
                  <c:v>-6.082903594236419E-2</c:v>
                </c:pt>
                <c:pt idx="52">
                  <c:v>-8.318169934432175E-2</c:v>
                </c:pt>
                <c:pt idx="53">
                  <c:v>-7.1682374198720283E-2</c:v>
                </c:pt>
                <c:pt idx="54">
                  <c:v>-5.3991048017516391E-2</c:v>
                </c:pt>
                <c:pt idx="55">
                  <c:v>-3.1612835128592011E-2</c:v>
                </c:pt>
                <c:pt idx="56">
                  <c:v>-6.39116531771802E-2</c:v>
                </c:pt>
                <c:pt idx="57">
                  <c:v>-8.0684434799934965E-2</c:v>
                </c:pt>
                <c:pt idx="58">
                  <c:v>-5.7272235655057763E-2</c:v>
                </c:pt>
                <c:pt idx="59">
                  <c:v>-6.3950338912997673E-2</c:v>
                </c:pt>
                <c:pt idx="60">
                  <c:v>-8.7905081920849448E-2</c:v>
                </c:pt>
                <c:pt idx="61">
                  <c:v>-7.3674454398456671E-2</c:v>
                </c:pt>
                <c:pt idx="62">
                  <c:v>-6.2470083562627364E-2</c:v>
                </c:pt>
                <c:pt idx="63">
                  <c:v>-6.3943438577241579E-2</c:v>
                </c:pt>
                <c:pt idx="64">
                  <c:v>-8.166887350136405E-2</c:v>
                </c:pt>
                <c:pt idx="65">
                  <c:v>-8.3788085555828701E-2</c:v>
                </c:pt>
                <c:pt idx="66">
                  <c:v>-6.2876104308292782E-2</c:v>
                </c:pt>
                <c:pt idx="67">
                  <c:v>-6.3950338912997673E-2</c:v>
                </c:pt>
                <c:pt idx="68">
                  <c:v>-4.8116468124174576E-2</c:v>
                </c:pt>
                <c:pt idx="69">
                  <c:v>-5.6836129061301914E-2</c:v>
                </c:pt>
                <c:pt idx="70">
                  <c:v>-6.4033520853997231E-2</c:v>
                </c:pt>
                <c:pt idx="71">
                  <c:v>-6.4078225934767183E-2</c:v>
                </c:pt>
                <c:pt idx="72">
                  <c:v>-8.1637584380851363E-2</c:v>
                </c:pt>
                <c:pt idx="73">
                  <c:v>-8.1997556941194025E-2</c:v>
                </c:pt>
                <c:pt idx="74">
                  <c:v>-6.2076652706363783E-2</c:v>
                </c:pt>
                <c:pt idx="75">
                  <c:v>-6.3950338912997673E-2</c:v>
                </c:pt>
                <c:pt idx="76">
                  <c:v>-8.8190148625057502E-2</c:v>
                </c:pt>
                <c:pt idx="77">
                  <c:v>-7.7651215926463998E-2</c:v>
                </c:pt>
                <c:pt idx="78">
                  <c:v>-6.364170939456637E-2</c:v>
                </c:pt>
                <c:pt idx="79">
                  <c:v>-6.4139332156916432E-2</c:v>
                </c:pt>
                <c:pt idx="80">
                  <c:v>-8.1735357683754783E-2</c:v>
                </c:pt>
                <c:pt idx="81">
                  <c:v>-8.3908392488875924E-2</c:v>
                </c:pt>
                <c:pt idx="82">
                  <c:v>-6.2916935192555923E-2</c:v>
                </c:pt>
                <c:pt idx="83">
                  <c:v>-6.3950338912997673E-2</c:v>
                </c:pt>
                <c:pt idx="84">
                  <c:v>-8.8563666675422537E-2</c:v>
                </c:pt>
                <c:pt idx="85">
                  <c:v>-7.7609876413349183E-2</c:v>
                </c:pt>
                <c:pt idx="86">
                  <c:v>-6.4033520853997231E-2</c:v>
                </c:pt>
                <c:pt idx="87">
                  <c:v>-6.4139332156916432E-2</c:v>
                </c:pt>
                <c:pt idx="88">
                  <c:v>-8.1735357683754783E-2</c:v>
                </c:pt>
                <c:pt idx="89">
                  <c:v>-8.3908392488875924E-2</c:v>
                </c:pt>
                <c:pt idx="90">
                  <c:v>-6.2439918330232137E-2</c:v>
                </c:pt>
                <c:pt idx="91">
                  <c:v>-6.3950338912997673E-2</c:v>
                </c:pt>
                <c:pt idx="92">
                  <c:v>-8.8733002118903767E-2</c:v>
                </c:pt>
                <c:pt idx="93">
                  <c:v>-7.7823351763821713E-2</c:v>
                </c:pt>
                <c:pt idx="94">
                  <c:v>-6.4033520853997231E-2</c:v>
                </c:pt>
                <c:pt idx="95">
                  <c:v>-6.4139332156916432E-2</c:v>
                </c:pt>
                <c:pt idx="96">
                  <c:v>-8.1735357683754783E-2</c:v>
                </c:pt>
                <c:pt idx="97">
                  <c:v>-8.3908392488875924E-2</c:v>
                </c:pt>
                <c:pt idx="98">
                  <c:v>-6.2916935192555923E-2</c:v>
                </c:pt>
                <c:pt idx="99">
                  <c:v>-6.3950338912997673E-2</c:v>
                </c:pt>
                <c:pt idx="100">
                  <c:v>-8.8733002118903767E-2</c:v>
                </c:pt>
                <c:pt idx="101">
                  <c:v>-7.7823351763821713E-2</c:v>
                </c:pt>
                <c:pt idx="102">
                  <c:v>-6.4033520853997231E-2</c:v>
                </c:pt>
                <c:pt idx="103">
                  <c:v>-6.4139332156916432E-2</c:v>
                </c:pt>
                <c:pt idx="104">
                  <c:v>-8.1735357683754783E-2</c:v>
                </c:pt>
                <c:pt idx="105">
                  <c:v>-8.3908392488875924E-2</c:v>
                </c:pt>
                <c:pt idx="106">
                  <c:v>-2.4726019898311427E-2</c:v>
                </c:pt>
                <c:pt idx="107">
                  <c:v>-4.4216472783568904E-2</c:v>
                </c:pt>
                <c:pt idx="108">
                  <c:v>-6.8424735121539126E-2</c:v>
                </c:pt>
                <c:pt idx="109">
                  <c:v>-6.7329740412561789E-2</c:v>
                </c:pt>
                <c:pt idx="110">
                  <c:v>-6.4033520853997231E-2</c:v>
                </c:pt>
                <c:pt idx="111">
                  <c:v>0.49459282548209282</c:v>
                </c:pt>
                <c:pt idx="112">
                  <c:v>0.58489755922163356</c:v>
                </c:pt>
                <c:pt idx="113">
                  <c:v>0.68102601814683872</c:v>
                </c:pt>
                <c:pt idx="114">
                  <c:v>0.23184235819894849</c:v>
                </c:pt>
                <c:pt idx="115">
                  <c:v>0.1840683334878471</c:v>
                </c:pt>
                <c:pt idx="116">
                  <c:v>0.62771332673660152</c:v>
                </c:pt>
                <c:pt idx="117">
                  <c:v>1.4917935361354571</c:v>
                </c:pt>
                <c:pt idx="118">
                  <c:v>1.0946140532751716</c:v>
                </c:pt>
                <c:pt idx="119">
                  <c:v>0.20219349577436926</c:v>
                </c:pt>
                <c:pt idx="120">
                  <c:v>0.50687918616833461</c:v>
                </c:pt>
                <c:pt idx="121">
                  <c:v>0.25505519227223217</c:v>
                </c:pt>
                <c:pt idx="122">
                  <c:v>9.9825314864816442E-3</c:v>
                </c:pt>
                <c:pt idx="123">
                  <c:v>-7.7099662300677933E-3</c:v>
                </c:pt>
                <c:pt idx="124">
                  <c:v>-7.1244532168768041E-2</c:v>
                </c:pt>
                <c:pt idx="125">
                  <c:v>3.2520299321284099E-2</c:v>
                </c:pt>
                <c:pt idx="126">
                  <c:v>0.26925162797360402</c:v>
                </c:pt>
                <c:pt idx="127">
                  <c:v>0.20877177152192067</c:v>
                </c:pt>
                <c:pt idx="128">
                  <c:v>0.17445292806480373</c:v>
                </c:pt>
                <c:pt idx="129">
                  <c:v>0.46191281866220341</c:v>
                </c:pt>
                <c:pt idx="130">
                  <c:v>0.17998956970954832</c:v>
                </c:pt>
                <c:pt idx="131">
                  <c:v>0.22184128063278244</c:v>
                </c:pt>
                <c:pt idx="132">
                  <c:v>0.50590039036787271</c:v>
                </c:pt>
                <c:pt idx="133">
                  <c:v>0.48434621574474013</c:v>
                </c:pt>
                <c:pt idx="134">
                  <c:v>0.14919997104736338</c:v>
                </c:pt>
                <c:pt idx="135">
                  <c:v>9.4855434618342727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1086-4525-8B78-AE6AA3F6984C}"/>
            </c:ext>
          </c:extLst>
        </c:ser>
        <c:ser>
          <c:idx val="4"/>
          <c:order val="4"/>
          <c:tx>
            <c:strRef>
              <c:f>Κατακρήμνιση!$R$2</c:f>
              <c:strCache>
                <c:ptCount val="1"/>
                <c:pt idx="0">
                  <c:v>12ωρη πρόγνωση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xVal>
            <c:numRef>
              <c:f>Κατακρήμνιση!$M$3:$M$138</c:f>
              <c:numCache>
                <c:formatCode>d/m/yy\ h:mm;@</c:formatCode>
                <c:ptCount val="136"/>
                <c:pt idx="0">
                  <c:v>38336</c:v>
                </c:pt>
                <c:pt idx="1">
                  <c:v>38336.124999999993</c:v>
                </c:pt>
                <c:pt idx="2">
                  <c:v>38336.25</c:v>
                </c:pt>
                <c:pt idx="3">
                  <c:v>38336.375</c:v>
                </c:pt>
                <c:pt idx="4">
                  <c:v>38336.5</c:v>
                </c:pt>
                <c:pt idx="5">
                  <c:v>38336.624999999993</c:v>
                </c:pt>
                <c:pt idx="6">
                  <c:v>38336.75</c:v>
                </c:pt>
                <c:pt idx="7">
                  <c:v>38336.875</c:v>
                </c:pt>
                <c:pt idx="8">
                  <c:v>38337</c:v>
                </c:pt>
                <c:pt idx="9">
                  <c:v>38337.124999999993</c:v>
                </c:pt>
                <c:pt idx="10">
                  <c:v>38337.25</c:v>
                </c:pt>
                <c:pt idx="11">
                  <c:v>38337.375</c:v>
                </c:pt>
                <c:pt idx="12">
                  <c:v>38337.5</c:v>
                </c:pt>
                <c:pt idx="13">
                  <c:v>38337.624999999993</c:v>
                </c:pt>
                <c:pt idx="14">
                  <c:v>38337.75</c:v>
                </c:pt>
                <c:pt idx="15">
                  <c:v>38337.875</c:v>
                </c:pt>
                <c:pt idx="16">
                  <c:v>38338</c:v>
                </c:pt>
                <c:pt idx="17">
                  <c:v>38338.124999999993</c:v>
                </c:pt>
                <c:pt idx="18">
                  <c:v>38338.25</c:v>
                </c:pt>
                <c:pt idx="19">
                  <c:v>38338.375</c:v>
                </c:pt>
                <c:pt idx="20">
                  <c:v>38338.5</c:v>
                </c:pt>
                <c:pt idx="21">
                  <c:v>38338.624999999993</c:v>
                </c:pt>
                <c:pt idx="22">
                  <c:v>38338.75</c:v>
                </c:pt>
                <c:pt idx="23">
                  <c:v>38338.875</c:v>
                </c:pt>
                <c:pt idx="24">
                  <c:v>38339</c:v>
                </c:pt>
                <c:pt idx="25">
                  <c:v>38339.124999999993</c:v>
                </c:pt>
                <c:pt idx="26">
                  <c:v>38339.25</c:v>
                </c:pt>
                <c:pt idx="27">
                  <c:v>38339.375</c:v>
                </c:pt>
                <c:pt idx="28">
                  <c:v>38339.5</c:v>
                </c:pt>
                <c:pt idx="29">
                  <c:v>38339.624999999993</c:v>
                </c:pt>
                <c:pt idx="30">
                  <c:v>38339.75</c:v>
                </c:pt>
                <c:pt idx="31">
                  <c:v>38339.875</c:v>
                </c:pt>
                <c:pt idx="32">
                  <c:v>38340</c:v>
                </c:pt>
                <c:pt idx="33">
                  <c:v>38340.124999999993</c:v>
                </c:pt>
                <c:pt idx="34">
                  <c:v>38340.25</c:v>
                </c:pt>
                <c:pt idx="35">
                  <c:v>38340.375</c:v>
                </c:pt>
                <c:pt idx="36">
                  <c:v>38340.5</c:v>
                </c:pt>
                <c:pt idx="37">
                  <c:v>38340.624999999993</c:v>
                </c:pt>
                <c:pt idx="38">
                  <c:v>38340.75</c:v>
                </c:pt>
                <c:pt idx="39">
                  <c:v>38340.875</c:v>
                </c:pt>
                <c:pt idx="40">
                  <c:v>38341</c:v>
                </c:pt>
                <c:pt idx="41">
                  <c:v>38341.124999999993</c:v>
                </c:pt>
                <c:pt idx="42">
                  <c:v>38341.25</c:v>
                </c:pt>
                <c:pt idx="43">
                  <c:v>38341.375</c:v>
                </c:pt>
                <c:pt idx="44">
                  <c:v>38341.5</c:v>
                </c:pt>
                <c:pt idx="45">
                  <c:v>38341.624999999993</c:v>
                </c:pt>
                <c:pt idx="46">
                  <c:v>38341.75</c:v>
                </c:pt>
                <c:pt idx="47">
                  <c:v>38341.875</c:v>
                </c:pt>
                <c:pt idx="48">
                  <c:v>38342</c:v>
                </c:pt>
                <c:pt idx="49">
                  <c:v>38342.124999999993</c:v>
                </c:pt>
                <c:pt idx="50">
                  <c:v>38342.25</c:v>
                </c:pt>
                <c:pt idx="51">
                  <c:v>38342.375</c:v>
                </c:pt>
                <c:pt idx="52">
                  <c:v>38342.5</c:v>
                </c:pt>
                <c:pt idx="53">
                  <c:v>38342.624999999993</c:v>
                </c:pt>
                <c:pt idx="54">
                  <c:v>38342.75</c:v>
                </c:pt>
                <c:pt idx="55">
                  <c:v>38342.875</c:v>
                </c:pt>
                <c:pt idx="56">
                  <c:v>38343</c:v>
                </c:pt>
                <c:pt idx="57">
                  <c:v>38343.124999999993</c:v>
                </c:pt>
                <c:pt idx="58">
                  <c:v>38343.25</c:v>
                </c:pt>
                <c:pt idx="59">
                  <c:v>38343.375</c:v>
                </c:pt>
                <c:pt idx="60">
                  <c:v>38343.5</c:v>
                </c:pt>
                <c:pt idx="61">
                  <c:v>38343.624999999993</c:v>
                </c:pt>
                <c:pt idx="62">
                  <c:v>38343.75</c:v>
                </c:pt>
                <c:pt idx="63">
                  <c:v>38343.875</c:v>
                </c:pt>
                <c:pt idx="64">
                  <c:v>38344</c:v>
                </c:pt>
                <c:pt idx="65">
                  <c:v>38344.124999999993</c:v>
                </c:pt>
                <c:pt idx="66">
                  <c:v>38344.25</c:v>
                </c:pt>
                <c:pt idx="67">
                  <c:v>38344.375</c:v>
                </c:pt>
                <c:pt idx="68">
                  <c:v>38344.5</c:v>
                </c:pt>
                <c:pt idx="69">
                  <c:v>38344.624999999993</c:v>
                </c:pt>
                <c:pt idx="70">
                  <c:v>38344.75</c:v>
                </c:pt>
                <c:pt idx="71">
                  <c:v>38344.875</c:v>
                </c:pt>
                <c:pt idx="72">
                  <c:v>38345</c:v>
                </c:pt>
                <c:pt idx="73">
                  <c:v>38345.124999999993</c:v>
                </c:pt>
                <c:pt idx="74">
                  <c:v>38345.25</c:v>
                </c:pt>
                <c:pt idx="75">
                  <c:v>38345.375</c:v>
                </c:pt>
                <c:pt idx="76">
                  <c:v>38345.5</c:v>
                </c:pt>
                <c:pt idx="77">
                  <c:v>38345.624999999993</c:v>
                </c:pt>
                <c:pt idx="78">
                  <c:v>38345.75</c:v>
                </c:pt>
                <c:pt idx="79">
                  <c:v>38345.875</c:v>
                </c:pt>
                <c:pt idx="80">
                  <c:v>38346</c:v>
                </c:pt>
                <c:pt idx="81">
                  <c:v>38346.124999999993</c:v>
                </c:pt>
                <c:pt idx="82">
                  <c:v>38346.25</c:v>
                </c:pt>
                <c:pt idx="83">
                  <c:v>38346.375</c:v>
                </c:pt>
                <c:pt idx="84">
                  <c:v>38346.5</c:v>
                </c:pt>
                <c:pt idx="85">
                  <c:v>38346.624999999993</c:v>
                </c:pt>
                <c:pt idx="86">
                  <c:v>38346.75</c:v>
                </c:pt>
                <c:pt idx="87">
                  <c:v>38346.875</c:v>
                </c:pt>
                <c:pt idx="88">
                  <c:v>38347</c:v>
                </c:pt>
                <c:pt idx="89">
                  <c:v>38347.124999999993</c:v>
                </c:pt>
                <c:pt idx="90">
                  <c:v>38347.25</c:v>
                </c:pt>
                <c:pt idx="91">
                  <c:v>38347.375</c:v>
                </c:pt>
                <c:pt idx="92">
                  <c:v>38347.5</c:v>
                </c:pt>
                <c:pt idx="93">
                  <c:v>38347.624999999993</c:v>
                </c:pt>
                <c:pt idx="94">
                  <c:v>38347.75</c:v>
                </c:pt>
                <c:pt idx="95">
                  <c:v>38347.875</c:v>
                </c:pt>
                <c:pt idx="96">
                  <c:v>38348</c:v>
                </c:pt>
                <c:pt idx="97">
                  <c:v>38348.124999999993</c:v>
                </c:pt>
                <c:pt idx="98">
                  <c:v>38348.25</c:v>
                </c:pt>
                <c:pt idx="99">
                  <c:v>38348.375</c:v>
                </c:pt>
                <c:pt idx="100">
                  <c:v>38348.5</c:v>
                </c:pt>
                <c:pt idx="101">
                  <c:v>38348.624999999993</c:v>
                </c:pt>
                <c:pt idx="102">
                  <c:v>38348.75</c:v>
                </c:pt>
                <c:pt idx="103">
                  <c:v>38348.875</c:v>
                </c:pt>
                <c:pt idx="104">
                  <c:v>38349</c:v>
                </c:pt>
                <c:pt idx="105">
                  <c:v>38349.124999999993</c:v>
                </c:pt>
                <c:pt idx="106">
                  <c:v>38349.25</c:v>
                </c:pt>
                <c:pt idx="107">
                  <c:v>38349.375</c:v>
                </c:pt>
                <c:pt idx="108">
                  <c:v>38349.5</c:v>
                </c:pt>
                <c:pt idx="109">
                  <c:v>38349.624999999993</c:v>
                </c:pt>
                <c:pt idx="110">
                  <c:v>38349.75</c:v>
                </c:pt>
                <c:pt idx="111">
                  <c:v>38349.875</c:v>
                </c:pt>
                <c:pt idx="112">
                  <c:v>38350</c:v>
                </c:pt>
                <c:pt idx="113">
                  <c:v>38350.124999999993</c:v>
                </c:pt>
                <c:pt idx="114">
                  <c:v>38350.25</c:v>
                </c:pt>
                <c:pt idx="115">
                  <c:v>38350.375</c:v>
                </c:pt>
                <c:pt idx="116">
                  <c:v>38350.5</c:v>
                </c:pt>
                <c:pt idx="117">
                  <c:v>38350.624999999993</c:v>
                </c:pt>
                <c:pt idx="118">
                  <c:v>38350.75</c:v>
                </c:pt>
                <c:pt idx="119">
                  <c:v>38350.875</c:v>
                </c:pt>
                <c:pt idx="120">
                  <c:v>38351</c:v>
                </c:pt>
                <c:pt idx="121">
                  <c:v>38351.124999999993</c:v>
                </c:pt>
                <c:pt idx="122">
                  <c:v>38351.25</c:v>
                </c:pt>
                <c:pt idx="123">
                  <c:v>38351.375</c:v>
                </c:pt>
                <c:pt idx="124">
                  <c:v>38351.5</c:v>
                </c:pt>
                <c:pt idx="125">
                  <c:v>38351.624999999993</c:v>
                </c:pt>
                <c:pt idx="126">
                  <c:v>38351.75</c:v>
                </c:pt>
                <c:pt idx="127">
                  <c:v>38351.875</c:v>
                </c:pt>
                <c:pt idx="128">
                  <c:v>38352</c:v>
                </c:pt>
                <c:pt idx="129">
                  <c:v>38352.124999999993</c:v>
                </c:pt>
                <c:pt idx="130">
                  <c:v>38352.25</c:v>
                </c:pt>
                <c:pt idx="131">
                  <c:v>38352.375</c:v>
                </c:pt>
                <c:pt idx="132">
                  <c:v>38352.5</c:v>
                </c:pt>
                <c:pt idx="133">
                  <c:v>38352.624999999993</c:v>
                </c:pt>
                <c:pt idx="134">
                  <c:v>38352.75</c:v>
                </c:pt>
                <c:pt idx="135">
                  <c:v>38352.875</c:v>
                </c:pt>
              </c:numCache>
            </c:numRef>
          </c:xVal>
          <c:yVal>
            <c:numRef>
              <c:f>Κατακρήμνιση!$R$3:$R$138</c:f>
              <c:numCache>
                <c:formatCode>General</c:formatCode>
                <c:ptCount val="136"/>
                <c:pt idx="0">
                  <c:v>-2.5479994380748192E-2</c:v>
                </c:pt>
                <c:pt idx="1">
                  <c:v>-2.6510454022188629E-2</c:v>
                </c:pt>
                <c:pt idx="2">
                  <c:v>-3.3083262559959102E-2</c:v>
                </c:pt>
                <c:pt idx="3">
                  <c:v>-3.024073410596036E-2</c:v>
                </c:pt>
                <c:pt idx="4">
                  <c:v>-2.3729684755395816E-2</c:v>
                </c:pt>
                <c:pt idx="5">
                  <c:v>-2.7095688642826212E-2</c:v>
                </c:pt>
                <c:pt idx="6">
                  <c:v>-3.5621528856446205E-2</c:v>
                </c:pt>
                <c:pt idx="7">
                  <c:v>-2.7008953819321821E-2</c:v>
                </c:pt>
                <c:pt idx="8">
                  <c:v>-2.5479994380748192E-2</c:v>
                </c:pt>
                <c:pt idx="9">
                  <c:v>-2.6510454022188629E-2</c:v>
                </c:pt>
                <c:pt idx="10">
                  <c:v>-3.3083262559959102E-2</c:v>
                </c:pt>
                <c:pt idx="11">
                  <c:v>-3.024073410596036E-2</c:v>
                </c:pt>
                <c:pt idx="12">
                  <c:v>-2.3729684755395816E-2</c:v>
                </c:pt>
                <c:pt idx="13">
                  <c:v>-2.7095688642826212E-2</c:v>
                </c:pt>
                <c:pt idx="14">
                  <c:v>-3.5621528856446205E-2</c:v>
                </c:pt>
                <c:pt idx="15">
                  <c:v>-2.7008953819321821E-2</c:v>
                </c:pt>
                <c:pt idx="16">
                  <c:v>-2.5479994380748192E-2</c:v>
                </c:pt>
                <c:pt idx="17">
                  <c:v>-2.6510454022188629E-2</c:v>
                </c:pt>
                <c:pt idx="18">
                  <c:v>-3.3083262559959102E-2</c:v>
                </c:pt>
                <c:pt idx="19">
                  <c:v>-3.024073410596036E-2</c:v>
                </c:pt>
                <c:pt idx="20">
                  <c:v>-2.3729684755395816E-2</c:v>
                </c:pt>
                <c:pt idx="21">
                  <c:v>-2.7095688642826212E-2</c:v>
                </c:pt>
                <c:pt idx="22">
                  <c:v>-3.5621528856446205E-2</c:v>
                </c:pt>
                <c:pt idx="23">
                  <c:v>-2.7008953819321821E-2</c:v>
                </c:pt>
                <c:pt idx="24">
                  <c:v>-2.5479994380748192E-2</c:v>
                </c:pt>
                <c:pt idx="25">
                  <c:v>-2.6510454022188629E-2</c:v>
                </c:pt>
                <c:pt idx="26">
                  <c:v>-3.3083262559959102E-2</c:v>
                </c:pt>
                <c:pt idx="27">
                  <c:v>-3.024073410596036E-2</c:v>
                </c:pt>
                <c:pt idx="28">
                  <c:v>1.8855241980837649E-2</c:v>
                </c:pt>
                <c:pt idx="29">
                  <c:v>0.57197835751467441</c:v>
                </c:pt>
                <c:pt idx="30">
                  <c:v>0.26296786628596364</c:v>
                </c:pt>
                <c:pt idx="31">
                  <c:v>0.11558177434967276</c:v>
                </c:pt>
                <c:pt idx="32">
                  <c:v>0.17611530382273646</c:v>
                </c:pt>
                <c:pt idx="33">
                  <c:v>0.18215396112172841</c:v>
                </c:pt>
                <c:pt idx="34">
                  <c:v>0.38035258536971245</c:v>
                </c:pt>
                <c:pt idx="35">
                  <c:v>0.67487857992800249</c:v>
                </c:pt>
                <c:pt idx="36">
                  <c:v>0.22788646557721876</c:v>
                </c:pt>
                <c:pt idx="37">
                  <c:v>0.10093287452484208</c:v>
                </c:pt>
                <c:pt idx="38">
                  <c:v>0.26460853280523272</c:v>
                </c:pt>
                <c:pt idx="39">
                  <c:v>6.3837361268575227E-2</c:v>
                </c:pt>
                <c:pt idx="40">
                  <c:v>4.4746076040646593E-2</c:v>
                </c:pt>
                <c:pt idx="41">
                  <c:v>0.17002943696570993</c:v>
                </c:pt>
                <c:pt idx="42">
                  <c:v>7.0226352352270233E-2</c:v>
                </c:pt>
                <c:pt idx="43">
                  <c:v>1.1061972100216181E-2</c:v>
                </c:pt>
                <c:pt idx="44">
                  <c:v>1.2909230025167201E-2</c:v>
                </c:pt>
                <c:pt idx="45">
                  <c:v>-1.3114672222465125E-2</c:v>
                </c:pt>
                <c:pt idx="46">
                  <c:v>-2.2563024769154862E-2</c:v>
                </c:pt>
                <c:pt idx="47">
                  <c:v>-1.5833855380600163E-2</c:v>
                </c:pt>
                <c:pt idx="48">
                  <c:v>-1.9394642305430771E-2</c:v>
                </c:pt>
                <c:pt idx="49">
                  <c:v>-1.696468564439545E-3</c:v>
                </c:pt>
                <c:pt idx="50">
                  <c:v>-2.186234373843568E-2</c:v>
                </c:pt>
                <c:pt idx="51">
                  <c:v>-2.7865401945797764E-2</c:v>
                </c:pt>
                <c:pt idx="52">
                  <c:v>-1.9711726931269765E-2</c:v>
                </c:pt>
                <c:pt idx="53">
                  <c:v>-2.2225647271174372E-2</c:v>
                </c:pt>
                <c:pt idx="54">
                  <c:v>-2.4306686616822077E-2</c:v>
                </c:pt>
                <c:pt idx="55">
                  <c:v>-8.2774997485725137E-3</c:v>
                </c:pt>
                <c:pt idx="56">
                  <c:v>-2.1427091087907402E-2</c:v>
                </c:pt>
                <c:pt idx="57">
                  <c:v>-2.0181033235393962E-2</c:v>
                </c:pt>
                <c:pt idx="58">
                  <c:v>-2.3874396059921209E-2</c:v>
                </c:pt>
                <c:pt idx="59">
                  <c:v>-2.9460960831128105E-2</c:v>
                </c:pt>
                <c:pt idx="60">
                  <c:v>-2.2911652609510412E-2</c:v>
                </c:pt>
                <c:pt idx="61">
                  <c:v>-2.2410440210164119E-2</c:v>
                </c:pt>
                <c:pt idx="62">
                  <c:v>-3.3742132503107182E-2</c:v>
                </c:pt>
                <c:pt idx="63">
                  <c:v>-2.6505118660997209E-2</c:v>
                </c:pt>
                <c:pt idx="64">
                  <c:v>-2.5318076543551268E-2</c:v>
                </c:pt>
                <c:pt idx="65">
                  <c:v>-2.6293977336172409E-2</c:v>
                </c:pt>
                <c:pt idx="66">
                  <c:v>-3.3009792691776452E-2</c:v>
                </c:pt>
                <c:pt idx="67">
                  <c:v>-3.024073410596036E-2</c:v>
                </c:pt>
                <c:pt idx="68">
                  <c:v>-2.3729684755395816E-2</c:v>
                </c:pt>
                <c:pt idx="69">
                  <c:v>-2.7095688642826212E-2</c:v>
                </c:pt>
                <c:pt idx="70">
                  <c:v>-1.8637920538351574E-2</c:v>
                </c:pt>
                <c:pt idx="71">
                  <c:v>-2.4970555776578252E-2</c:v>
                </c:pt>
                <c:pt idx="72">
                  <c:v>-2.398726609769445E-2</c:v>
                </c:pt>
                <c:pt idx="73">
                  <c:v>-2.5198043486697051E-2</c:v>
                </c:pt>
                <c:pt idx="74">
                  <c:v>-3.188818031488299E-2</c:v>
                </c:pt>
                <c:pt idx="75">
                  <c:v>-3.0022322176621652E-2</c:v>
                </c:pt>
                <c:pt idx="76">
                  <c:v>-2.2407600908121317E-2</c:v>
                </c:pt>
                <c:pt idx="77">
                  <c:v>-2.6900724716310401E-2</c:v>
                </c:pt>
                <c:pt idx="78">
                  <c:v>-3.4955467504118445E-2</c:v>
                </c:pt>
                <c:pt idx="79">
                  <c:v>-2.7008953819321821E-2</c:v>
                </c:pt>
                <c:pt idx="80">
                  <c:v>-2.5479994380748192E-2</c:v>
                </c:pt>
                <c:pt idx="81">
                  <c:v>-2.6510454022188629E-2</c:v>
                </c:pt>
                <c:pt idx="82">
                  <c:v>-3.3083262559959102E-2</c:v>
                </c:pt>
                <c:pt idx="83">
                  <c:v>-3.024073410596036E-2</c:v>
                </c:pt>
                <c:pt idx="84">
                  <c:v>-2.3729684755395816E-2</c:v>
                </c:pt>
                <c:pt idx="85">
                  <c:v>-2.7030128171151288E-2</c:v>
                </c:pt>
                <c:pt idx="86">
                  <c:v>-3.5621528856446205E-2</c:v>
                </c:pt>
                <c:pt idx="87">
                  <c:v>-2.7008953819321821E-2</c:v>
                </c:pt>
                <c:pt idx="88">
                  <c:v>-2.5479994380748192E-2</c:v>
                </c:pt>
                <c:pt idx="89">
                  <c:v>-2.6510454022188629E-2</c:v>
                </c:pt>
                <c:pt idx="90">
                  <c:v>-3.2542985288703453E-2</c:v>
                </c:pt>
                <c:pt idx="91">
                  <c:v>-3.024073410596036E-2</c:v>
                </c:pt>
                <c:pt idx="92">
                  <c:v>-2.3729684755395816E-2</c:v>
                </c:pt>
                <c:pt idx="93">
                  <c:v>-2.7095688642826212E-2</c:v>
                </c:pt>
                <c:pt idx="94">
                  <c:v>-3.5621528856446205E-2</c:v>
                </c:pt>
                <c:pt idx="95">
                  <c:v>-2.7008953819321821E-2</c:v>
                </c:pt>
                <c:pt idx="96">
                  <c:v>-2.5479994380748192E-2</c:v>
                </c:pt>
                <c:pt idx="97">
                  <c:v>-2.6510454022188629E-2</c:v>
                </c:pt>
                <c:pt idx="98">
                  <c:v>-3.3083262559959102E-2</c:v>
                </c:pt>
                <c:pt idx="99">
                  <c:v>-3.024073410596036E-2</c:v>
                </c:pt>
                <c:pt idx="100">
                  <c:v>-2.3729684755395816E-2</c:v>
                </c:pt>
                <c:pt idx="101">
                  <c:v>-2.7095688642826212E-2</c:v>
                </c:pt>
                <c:pt idx="102">
                  <c:v>-3.5621528856446205E-2</c:v>
                </c:pt>
                <c:pt idx="103">
                  <c:v>-2.7008953819321821E-2</c:v>
                </c:pt>
                <c:pt idx="104">
                  <c:v>-2.5479994380748192E-2</c:v>
                </c:pt>
                <c:pt idx="105">
                  <c:v>-2.6510454022188629E-2</c:v>
                </c:pt>
                <c:pt idx="106">
                  <c:v>-3.3083262559959102E-2</c:v>
                </c:pt>
                <c:pt idx="107">
                  <c:v>-3.024073410596036E-2</c:v>
                </c:pt>
                <c:pt idx="108">
                  <c:v>-7.7603372293083119E-3</c:v>
                </c:pt>
                <c:pt idx="109">
                  <c:v>-2.5179023695578982E-2</c:v>
                </c:pt>
                <c:pt idx="110">
                  <c:v>-2.5748387348297389E-2</c:v>
                </c:pt>
                <c:pt idx="111">
                  <c:v>-2.4763271188433651E-2</c:v>
                </c:pt>
                <c:pt idx="112">
                  <c:v>-2.3621747328712452E-2</c:v>
                </c:pt>
                <c:pt idx="113">
                  <c:v>0.20723725846866159</c:v>
                </c:pt>
                <c:pt idx="114">
                  <c:v>0.15479007815997403</c:v>
                </c:pt>
                <c:pt idx="115">
                  <c:v>0.24676307263839325</c:v>
                </c:pt>
                <c:pt idx="116">
                  <c:v>3.7594131130749345E-2</c:v>
                </c:pt>
                <c:pt idx="117">
                  <c:v>0.1257083592166624</c:v>
                </c:pt>
                <c:pt idx="118">
                  <c:v>0.24444595781605763</c:v>
                </c:pt>
                <c:pt idx="119">
                  <c:v>0.56983046164801765</c:v>
                </c:pt>
                <c:pt idx="120">
                  <c:v>0.28089728326421026</c:v>
                </c:pt>
                <c:pt idx="121">
                  <c:v>9.4788838618027726E-2</c:v>
                </c:pt>
                <c:pt idx="122">
                  <c:v>0.28701622291921225</c:v>
                </c:pt>
                <c:pt idx="123">
                  <c:v>7.0168638617824214E-2</c:v>
                </c:pt>
                <c:pt idx="124">
                  <c:v>3.6044979622507502E-2</c:v>
                </c:pt>
                <c:pt idx="125">
                  <c:v>3.8238696711070046E-2</c:v>
                </c:pt>
                <c:pt idx="126">
                  <c:v>5.0763577807342499E-3</c:v>
                </c:pt>
                <c:pt idx="127">
                  <c:v>2.1689928656760189E-2</c:v>
                </c:pt>
                <c:pt idx="128">
                  <c:v>0.12064984484488854</c:v>
                </c:pt>
                <c:pt idx="129">
                  <c:v>3.9374339959057661E-2</c:v>
                </c:pt>
                <c:pt idx="130">
                  <c:v>6.9419326788117713E-2</c:v>
                </c:pt>
                <c:pt idx="131">
                  <c:v>0.18150903805330362</c:v>
                </c:pt>
                <c:pt idx="132">
                  <c:v>1.7939829840891201E-2</c:v>
                </c:pt>
                <c:pt idx="133">
                  <c:v>0.12339719707701509</c:v>
                </c:pt>
                <c:pt idx="134">
                  <c:v>0.19832276959418813</c:v>
                </c:pt>
                <c:pt idx="135">
                  <c:v>0.1611409163236293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1086-4525-8B78-AE6AA3F6984C}"/>
            </c:ext>
          </c:extLst>
        </c:ser>
        <c:ser>
          <c:idx val="8"/>
          <c:order val="8"/>
          <c:tx>
            <c:strRef>
              <c:f>Κατακρήμνιση!$V$2</c:f>
              <c:strCache>
                <c:ptCount val="1"/>
                <c:pt idx="0">
                  <c:v>24ωρη πρόγνωση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Κατακρήμνιση!$M$3:$M$138</c:f>
              <c:numCache>
                <c:formatCode>d/m/yy\ h:mm;@</c:formatCode>
                <c:ptCount val="136"/>
                <c:pt idx="0">
                  <c:v>38336</c:v>
                </c:pt>
                <c:pt idx="1">
                  <c:v>38336.124999999993</c:v>
                </c:pt>
                <c:pt idx="2">
                  <c:v>38336.25</c:v>
                </c:pt>
                <c:pt idx="3">
                  <c:v>38336.375</c:v>
                </c:pt>
                <c:pt idx="4">
                  <c:v>38336.5</c:v>
                </c:pt>
                <c:pt idx="5">
                  <c:v>38336.624999999993</c:v>
                </c:pt>
                <c:pt idx="6">
                  <c:v>38336.75</c:v>
                </c:pt>
                <c:pt idx="7">
                  <c:v>38336.875</c:v>
                </c:pt>
                <c:pt idx="8">
                  <c:v>38337</c:v>
                </c:pt>
                <c:pt idx="9">
                  <c:v>38337.124999999993</c:v>
                </c:pt>
                <c:pt idx="10">
                  <c:v>38337.25</c:v>
                </c:pt>
                <c:pt idx="11">
                  <c:v>38337.375</c:v>
                </c:pt>
                <c:pt idx="12">
                  <c:v>38337.5</c:v>
                </c:pt>
                <c:pt idx="13">
                  <c:v>38337.624999999993</c:v>
                </c:pt>
                <c:pt idx="14">
                  <c:v>38337.75</c:v>
                </c:pt>
                <c:pt idx="15">
                  <c:v>38337.875</c:v>
                </c:pt>
                <c:pt idx="16">
                  <c:v>38338</c:v>
                </c:pt>
                <c:pt idx="17">
                  <c:v>38338.124999999993</c:v>
                </c:pt>
                <c:pt idx="18">
                  <c:v>38338.25</c:v>
                </c:pt>
                <c:pt idx="19">
                  <c:v>38338.375</c:v>
                </c:pt>
                <c:pt idx="20">
                  <c:v>38338.5</c:v>
                </c:pt>
                <c:pt idx="21">
                  <c:v>38338.624999999993</c:v>
                </c:pt>
                <c:pt idx="22">
                  <c:v>38338.75</c:v>
                </c:pt>
                <c:pt idx="23">
                  <c:v>38338.875</c:v>
                </c:pt>
                <c:pt idx="24">
                  <c:v>38339</c:v>
                </c:pt>
                <c:pt idx="25">
                  <c:v>38339.124999999993</c:v>
                </c:pt>
                <c:pt idx="26">
                  <c:v>38339.25</c:v>
                </c:pt>
                <c:pt idx="27">
                  <c:v>38339.375</c:v>
                </c:pt>
                <c:pt idx="28">
                  <c:v>38339.5</c:v>
                </c:pt>
                <c:pt idx="29">
                  <c:v>38339.624999999993</c:v>
                </c:pt>
                <c:pt idx="30">
                  <c:v>38339.75</c:v>
                </c:pt>
                <c:pt idx="31">
                  <c:v>38339.875</c:v>
                </c:pt>
                <c:pt idx="32">
                  <c:v>38340</c:v>
                </c:pt>
                <c:pt idx="33">
                  <c:v>38340.124999999993</c:v>
                </c:pt>
                <c:pt idx="34">
                  <c:v>38340.25</c:v>
                </c:pt>
                <c:pt idx="35">
                  <c:v>38340.375</c:v>
                </c:pt>
                <c:pt idx="36">
                  <c:v>38340.5</c:v>
                </c:pt>
                <c:pt idx="37">
                  <c:v>38340.624999999993</c:v>
                </c:pt>
                <c:pt idx="38">
                  <c:v>38340.75</c:v>
                </c:pt>
                <c:pt idx="39">
                  <c:v>38340.875</c:v>
                </c:pt>
                <c:pt idx="40">
                  <c:v>38341</c:v>
                </c:pt>
                <c:pt idx="41">
                  <c:v>38341.124999999993</c:v>
                </c:pt>
                <c:pt idx="42">
                  <c:v>38341.25</c:v>
                </c:pt>
                <c:pt idx="43">
                  <c:v>38341.375</c:v>
                </c:pt>
                <c:pt idx="44">
                  <c:v>38341.5</c:v>
                </c:pt>
                <c:pt idx="45">
                  <c:v>38341.624999999993</c:v>
                </c:pt>
                <c:pt idx="46">
                  <c:v>38341.75</c:v>
                </c:pt>
                <c:pt idx="47">
                  <c:v>38341.875</c:v>
                </c:pt>
                <c:pt idx="48">
                  <c:v>38342</c:v>
                </c:pt>
                <c:pt idx="49">
                  <c:v>38342.124999999993</c:v>
                </c:pt>
                <c:pt idx="50">
                  <c:v>38342.25</c:v>
                </c:pt>
                <c:pt idx="51">
                  <c:v>38342.375</c:v>
                </c:pt>
                <c:pt idx="52">
                  <c:v>38342.5</c:v>
                </c:pt>
                <c:pt idx="53">
                  <c:v>38342.624999999993</c:v>
                </c:pt>
                <c:pt idx="54">
                  <c:v>38342.75</c:v>
                </c:pt>
                <c:pt idx="55">
                  <c:v>38342.875</c:v>
                </c:pt>
                <c:pt idx="56">
                  <c:v>38343</c:v>
                </c:pt>
                <c:pt idx="57">
                  <c:v>38343.124999999993</c:v>
                </c:pt>
                <c:pt idx="58">
                  <c:v>38343.25</c:v>
                </c:pt>
                <c:pt idx="59">
                  <c:v>38343.375</c:v>
                </c:pt>
                <c:pt idx="60">
                  <c:v>38343.5</c:v>
                </c:pt>
                <c:pt idx="61">
                  <c:v>38343.624999999993</c:v>
                </c:pt>
                <c:pt idx="62">
                  <c:v>38343.75</c:v>
                </c:pt>
                <c:pt idx="63">
                  <c:v>38343.875</c:v>
                </c:pt>
                <c:pt idx="64">
                  <c:v>38344</c:v>
                </c:pt>
                <c:pt idx="65">
                  <c:v>38344.124999999993</c:v>
                </c:pt>
                <c:pt idx="66">
                  <c:v>38344.25</c:v>
                </c:pt>
                <c:pt idx="67">
                  <c:v>38344.375</c:v>
                </c:pt>
                <c:pt idx="68">
                  <c:v>38344.5</c:v>
                </c:pt>
                <c:pt idx="69">
                  <c:v>38344.624999999993</c:v>
                </c:pt>
                <c:pt idx="70">
                  <c:v>38344.75</c:v>
                </c:pt>
                <c:pt idx="71">
                  <c:v>38344.875</c:v>
                </c:pt>
                <c:pt idx="72">
                  <c:v>38345</c:v>
                </c:pt>
                <c:pt idx="73">
                  <c:v>38345.124999999993</c:v>
                </c:pt>
                <c:pt idx="74">
                  <c:v>38345.25</c:v>
                </c:pt>
                <c:pt idx="75">
                  <c:v>38345.375</c:v>
                </c:pt>
                <c:pt idx="76">
                  <c:v>38345.5</c:v>
                </c:pt>
                <c:pt idx="77">
                  <c:v>38345.624999999993</c:v>
                </c:pt>
                <c:pt idx="78">
                  <c:v>38345.75</c:v>
                </c:pt>
                <c:pt idx="79">
                  <c:v>38345.875</c:v>
                </c:pt>
                <c:pt idx="80">
                  <c:v>38346</c:v>
                </c:pt>
                <c:pt idx="81">
                  <c:v>38346.124999999993</c:v>
                </c:pt>
                <c:pt idx="82">
                  <c:v>38346.25</c:v>
                </c:pt>
                <c:pt idx="83">
                  <c:v>38346.375</c:v>
                </c:pt>
                <c:pt idx="84">
                  <c:v>38346.5</c:v>
                </c:pt>
                <c:pt idx="85">
                  <c:v>38346.624999999993</c:v>
                </c:pt>
                <c:pt idx="86">
                  <c:v>38346.75</c:v>
                </c:pt>
                <c:pt idx="87">
                  <c:v>38346.875</c:v>
                </c:pt>
                <c:pt idx="88">
                  <c:v>38347</c:v>
                </c:pt>
                <c:pt idx="89">
                  <c:v>38347.124999999993</c:v>
                </c:pt>
                <c:pt idx="90">
                  <c:v>38347.25</c:v>
                </c:pt>
                <c:pt idx="91">
                  <c:v>38347.375</c:v>
                </c:pt>
                <c:pt idx="92">
                  <c:v>38347.5</c:v>
                </c:pt>
                <c:pt idx="93">
                  <c:v>38347.624999999993</c:v>
                </c:pt>
                <c:pt idx="94">
                  <c:v>38347.75</c:v>
                </c:pt>
                <c:pt idx="95">
                  <c:v>38347.875</c:v>
                </c:pt>
                <c:pt idx="96">
                  <c:v>38348</c:v>
                </c:pt>
                <c:pt idx="97">
                  <c:v>38348.124999999993</c:v>
                </c:pt>
                <c:pt idx="98">
                  <c:v>38348.25</c:v>
                </c:pt>
                <c:pt idx="99">
                  <c:v>38348.375</c:v>
                </c:pt>
                <c:pt idx="100">
                  <c:v>38348.5</c:v>
                </c:pt>
                <c:pt idx="101">
                  <c:v>38348.624999999993</c:v>
                </c:pt>
                <c:pt idx="102">
                  <c:v>38348.75</c:v>
                </c:pt>
                <c:pt idx="103">
                  <c:v>38348.875</c:v>
                </c:pt>
                <c:pt idx="104">
                  <c:v>38349</c:v>
                </c:pt>
                <c:pt idx="105">
                  <c:v>38349.124999999993</c:v>
                </c:pt>
                <c:pt idx="106">
                  <c:v>38349.25</c:v>
                </c:pt>
                <c:pt idx="107">
                  <c:v>38349.375</c:v>
                </c:pt>
                <c:pt idx="108">
                  <c:v>38349.5</c:v>
                </c:pt>
                <c:pt idx="109">
                  <c:v>38349.624999999993</c:v>
                </c:pt>
                <c:pt idx="110">
                  <c:v>38349.75</c:v>
                </c:pt>
                <c:pt idx="111">
                  <c:v>38349.875</c:v>
                </c:pt>
                <c:pt idx="112">
                  <c:v>38350</c:v>
                </c:pt>
                <c:pt idx="113">
                  <c:v>38350.124999999993</c:v>
                </c:pt>
                <c:pt idx="114">
                  <c:v>38350.25</c:v>
                </c:pt>
                <c:pt idx="115">
                  <c:v>38350.375</c:v>
                </c:pt>
                <c:pt idx="116">
                  <c:v>38350.5</c:v>
                </c:pt>
                <c:pt idx="117">
                  <c:v>38350.624999999993</c:v>
                </c:pt>
                <c:pt idx="118">
                  <c:v>38350.75</c:v>
                </c:pt>
                <c:pt idx="119">
                  <c:v>38350.875</c:v>
                </c:pt>
                <c:pt idx="120">
                  <c:v>38351</c:v>
                </c:pt>
                <c:pt idx="121">
                  <c:v>38351.124999999993</c:v>
                </c:pt>
                <c:pt idx="122">
                  <c:v>38351.25</c:v>
                </c:pt>
                <c:pt idx="123">
                  <c:v>38351.375</c:v>
                </c:pt>
                <c:pt idx="124">
                  <c:v>38351.5</c:v>
                </c:pt>
                <c:pt idx="125">
                  <c:v>38351.624999999993</c:v>
                </c:pt>
                <c:pt idx="126">
                  <c:v>38351.75</c:v>
                </c:pt>
                <c:pt idx="127">
                  <c:v>38351.875</c:v>
                </c:pt>
                <c:pt idx="128">
                  <c:v>38352</c:v>
                </c:pt>
                <c:pt idx="129">
                  <c:v>38352.124999999993</c:v>
                </c:pt>
                <c:pt idx="130">
                  <c:v>38352.25</c:v>
                </c:pt>
                <c:pt idx="131">
                  <c:v>38352.375</c:v>
                </c:pt>
                <c:pt idx="132">
                  <c:v>38352.5</c:v>
                </c:pt>
                <c:pt idx="133">
                  <c:v>38352.624999999993</c:v>
                </c:pt>
                <c:pt idx="134">
                  <c:v>38352.75</c:v>
                </c:pt>
                <c:pt idx="135">
                  <c:v>38352.875</c:v>
                </c:pt>
              </c:numCache>
            </c:numRef>
          </c:xVal>
          <c:yVal>
            <c:numRef>
              <c:f>Κατακρήμνιση!$V$3:$V$138</c:f>
              <c:numCache>
                <c:formatCode>General</c:formatCode>
                <c:ptCount val="136"/>
                <c:pt idx="0">
                  <c:v>-9.5517712831695804E-3</c:v>
                </c:pt>
                <c:pt idx="1">
                  <c:v>-9.7381094501741931E-3</c:v>
                </c:pt>
                <c:pt idx="2">
                  <c:v>-1.145461661821104E-2</c:v>
                </c:pt>
                <c:pt idx="3">
                  <c:v>-9.7684855292566476E-3</c:v>
                </c:pt>
                <c:pt idx="4">
                  <c:v>-9.9050818938937763E-3</c:v>
                </c:pt>
                <c:pt idx="5">
                  <c:v>-9.469528860243116E-3</c:v>
                </c:pt>
                <c:pt idx="6">
                  <c:v>-1.1018528605336905E-2</c:v>
                </c:pt>
                <c:pt idx="7">
                  <c:v>-1.0375566009330497E-2</c:v>
                </c:pt>
                <c:pt idx="8">
                  <c:v>-9.5517712831695804E-3</c:v>
                </c:pt>
                <c:pt idx="9">
                  <c:v>-9.7381094501741931E-3</c:v>
                </c:pt>
                <c:pt idx="10">
                  <c:v>-1.145461661821104E-2</c:v>
                </c:pt>
                <c:pt idx="11">
                  <c:v>-9.7684855292566476E-3</c:v>
                </c:pt>
                <c:pt idx="12">
                  <c:v>-9.9050818938937763E-3</c:v>
                </c:pt>
                <c:pt idx="13">
                  <c:v>-9.469528860243116E-3</c:v>
                </c:pt>
                <c:pt idx="14">
                  <c:v>-1.1018528605336905E-2</c:v>
                </c:pt>
                <c:pt idx="15">
                  <c:v>-1.0375566009330497E-2</c:v>
                </c:pt>
                <c:pt idx="16">
                  <c:v>-9.5517712831695804E-3</c:v>
                </c:pt>
                <c:pt idx="17">
                  <c:v>-9.7381094501741931E-3</c:v>
                </c:pt>
                <c:pt idx="18">
                  <c:v>-1.145461661821104E-2</c:v>
                </c:pt>
                <c:pt idx="19">
                  <c:v>-9.7684855292566476E-3</c:v>
                </c:pt>
                <c:pt idx="20">
                  <c:v>-9.9050818938937763E-3</c:v>
                </c:pt>
                <c:pt idx="21">
                  <c:v>-9.469528860243116E-3</c:v>
                </c:pt>
                <c:pt idx="22">
                  <c:v>-1.1018528605336905E-2</c:v>
                </c:pt>
                <c:pt idx="23">
                  <c:v>-1.0375566009330497E-2</c:v>
                </c:pt>
                <c:pt idx="24">
                  <c:v>-9.5517712831695804E-3</c:v>
                </c:pt>
                <c:pt idx="25">
                  <c:v>-9.7381094501741931E-3</c:v>
                </c:pt>
                <c:pt idx="26">
                  <c:v>-1.145461661821104E-2</c:v>
                </c:pt>
                <c:pt idx="27">
                  <c:v>-9.7684855292566476E-3</c:v>
                </c:pt>
                <c:pt idx="28">
                  <c:v>-9.9050818938937763E-3</c:v>
                </c:pt>
                <c:pt idx="29">
                  <c:v>-9.469528860243116E-3</c:v>
                </c:pt>
                <c:pt idx="30">
                  <c:v>-1.1018528605336905E-2</c:v>
                </c:pt>
                <c:pt idx="31">
                  <c:v>-1.0375566009330497E-2</c:v>
                </c:pt>
                <c:pt idx="32">
                  <c:v>6.1393686212146139E-4</c:v>
                </c:pt>
                <c:pt idx="33">
                  <c:v>0.13410899349048094</c:v>
                </c:pt>
                <c:pt idx="34">
                  <c:v>7.4557410804622457E-2</c:v>
                </c:pt>
                <c:pt idx="35">
                  <c:v>7.028087472496837E-2</c:v>
                </c:pt>
                <c:pt idx="36">
                  <c:v>4.5647432279644282E-2</c:v>
                </c:pt>
                <c:pt idx="37">
                  <c:v>5.9089243050308923E-2</c:v>
                </c:pt>
                <c:pt idx="38">
                  <c:v>0.10205978098641383</c:v>
                </c:pt>
                <c:pt idx="39">
                  <c:v>0.16871467350467059</c:v>
                </c:pt>
                <c:pt idx="40">
                  <c:v>8.6465821559224262E-2</c:v>
                </c:pt>
                <c:pt idx="41">
                  <c:v>5.6160015101902862E-2</c:v>
                </c:pt>
                <c:pt idx="42">
                  <c:v>6.3920316654701825E-2</c:v>
                </c:pt>
                <c:pt idx="43">
                  <c:v>2.7318517820321866E-2</c:v>
                </c:pt>
                <c:pt idx="44">
                  <c:v>1.9071933525600104E-2</c:v>
                </c:pt>
                <c:pt idx="45">
                  <c:v>2.845512240083815E-2</c:v>
                </c:pt>
                <c:pt idx="46">
                  <c:v>1.8259123700019329E-2</c:v>
                </c:pt>
                <c:pt idx="47">
                  <c:v>4.0120166975068918E-3</c:v>
                </c:pt>
                <c:pt idx="48">
                  <c:v>-9.6539869593805666E-4</c:v>
                </c:pt>
                <c:pt idx="49">
                  <c:v>1.2516530349586863E-2</c:v>
                </c:pt>
                <c:pt idx="50">
                  <c:v>-2.7456829782150013E-3</c:v>
                </c:pt>
                <c:pt idx="51">
                  <c:v>-6.5344119656932714E-3</c:v>
                </c:pt>
                <c:pt idx="52">
                  <c:v>-5.7852042021770723E-3</c:v>
                </c:pt>
                <c:pt idx="53">
                  <c:v>-5.8422991855208274E-3</c:v>
                </c:pt>
                <c:pt idx="54">
                  <c:v>1.1575538720739601E-3</c:v>
                </c:pt>
                <c:pt idx="55">
                  <c:v>3.8844170116863405E-2</c:v>
                </c:pt>
                <c:pt idx="56">
                  <c:v>1.8593936958788377E-2</c:v>
                </c:pt>
                <c:pt idx="57">
                  <c:v>-1.5519082497586541E-3</c:v>
                </c:pt>
                <c:pt idx="58">
                  <c:v>2.2586968357500548E-3</c:v>
                </c:pt>
                <c:pt idx="59">
                  <c:v>-8.7181931105848216E-5</c:v>
                </c:pt>
                <c:pt idx="60">
                  <c:v>1.218024691883393E-2</c:v>
                </c:pt>
                <c:pt idx="61">
                  <c:v>3.4973177843592891E-2</c:v>
                </c:pt>
                <c:pt idx="62">
                  <c:v>1.0086430376965785E-2</c:v>
                </c:pt>
                <c:pt idx="63">
                  <c:v>-7.2678249428835733E-3</c:v>
                </c:pt>
                <c:pt idx="64">
                  <c:v>1.44649823118585E-3</c:v>
                </c:pt>
                <c:pt idx="65">
                  <c:v>-5.0761178986402974E-3</c:v>
                </c:pt>
                <c:pt idx="66">
                  <c:v>-1.1080200994735424E-2</c:v>
                </c:pt>
                <c:pt idx="67">
                  <c:v>-2.6609548211330414E-3</c:v>
                </c:pt>
                <c:pt idx="68">
                  <c:v>-4.2714917752782267E-3</c:v>
                </c:pt>
                <c:pt idx="69">
                  <c:v>-8.3329723313156339E-3</c:v>
                </c:pt>
                <c:pt idx="70">
                  <c:v>-1.1018528605336905E-2</c:v>
                </c:pt>
                <c:pt idx="71">
                  <c:v>-1.0375566009330497E-2</c:v>
                </c:pt>
                <c:pt idx="72">
                  <c:v>-9.5502480966064788E-3</c:v>
                </c:pt>
                <c:pt idx="73">
                  <c:v>-9.7375924969721195E-3</c:v>
                </c:pt>
                <c:pt idx="74">
                  <c:v>-7.4003556707855434E-3</c:v>
                </c:pt>
                <c:pt idx="75">
                  <c:v>-8.9474883748593727E-3</c:v>
                </c:pt>
                <c:pt idx="76">
                  <c:v>-8.342346667459366E-3</c:v>
                </c:pt>
                <c:pt idx="77">
                  <c:v>-9.2991821386376652E-3</c:v>
                </c:pt>
                <c:pt idx="78">
                  <c:v>-1.021420805159287E-2</c:v>
                </c:pt>
                <c:pt idx="79">
                  <c:v>-1.0375566009330497E-2</c:v>
                </c:pt>
                <c:pt idx="80">
                  <c:v>-9.3527868221537705E-3</c:v>
                </c:pt>
                <c:pt idx="81">
                  <c:v>-9.7381094501741931E-3</c:v>
                </c:pt>
                <c:pt idx="82">
                  <c:v>-1.145461661821104E-2</c:v>
                </c:pt>
                <c:pt idx="83">
                  <c:v>-9.4389283754356609E-3</c:v>
                </c:pt>
                <c:pt idx="84">
                  <c:v>-9.6592805850342824E-3</c:v>
                </c:pt>
                <c:pt idx="85">
                  <c:v>-9.4198455973107179E-3</c:v>
                </c:pt>
                <c:pt idx="86">
                  <c:v>-1.1018528605336905E-2</c:v>
                </c:pt>
                <c:pt idx="87">
                  <c:v>-1.0375566009330497E-2</c:v>
                </c:pt>
                <c:pt idx="88">
                  <c:v>-9.5517712831695804E-3</c:v>
                </c:pt>
                <c:pt idx="89">
                  <c:v>-9.7381094501741931E-3</c:v>
                </c:pt>
                <c:pt idx="90">
                  <c:v>-1.0982557691408143E-2</c:v>
                </c:pt>
                <c:pt idx="91">
                  <c:v>-9.7684855292566476E-3</c:v>
                </c:pt>
                <c:pt idx="92">
                  <c:v>-9.9050818938937763E-3</c:v>
                </c:pt>
                <c:pt idx="93">
                  <c:v>-9.469528860243116E-3</c:v>
                </c:pt>
                <c:pt idx="94">
                  <c:v>-1.1018528605336905E-2</c:v>
                </c:pt>
                <c:pt idx="95">
                  <c:v>-1.0375566009330497E-2</c:v>
                </c:pt>
                <c:pt idx="96">
                  <c:v>-8.6385139284828709E-3</c:v>
                </c:pt>
                <c:pt idx="97">
                  <c:v>-9.3669031508750548E-3</c:v>
                </c:pt>
                <c:pt idx="98">
                  <c:v>-1.145461661821104E-2</c:v>
                </c:pt>
                <c:pt idx="99">
                  <c:v>-9.7684855292566476E-3</c:v>
                </c:pt>
                <c:pt idx="100">
                  <c:v>-9.9050818938937763E-3</c:v>
                </c:pt>
                <c:pt idx="101">
                  <c:v>-9.469528860243116E-3</c:v>
                </c:pt>
                <c:pt idx="102">
                  <c:v>-1.1018528605336905E-2</c:v>
                </c:pt>
                <c:pt idx="103">
                  <c:v>-1.0375566009330497E-2</c:v>
                </c:pt>
                <c:pt idx="104">
                  <c:v>-9.5517712831695804E-3</c:v>
                </c:pt>
                <c:pt idx="105">
                  <c:v>-9.7381094501741931E-3</c:v>
                </c:pt>
                <c:pt idx="106">
                  <c:v>-1.145461661821104E-2</c:v>
                </c:pt>
                <c:pt idx="107">
                  <c:v>-9.7684855292566476E-3</c:v>
                </c:pt>
                <c:pt idx="108">
                  <c:v>-9.9050818938937763E-3</c:v>
                </c:pt>
                <c:pt idx="109">
                  <c:v>-9.469528860243116E-3</c:v>
                </c:pt>
                <c:pt idx="110">
                  <c:v>-1.1018528605336905E-2</c:v>
                </c:pt>
                <c:pt idx="111">
                  <c:v>-1.0375566009330497E-2</c:v>
                </c:pt>
                <c:pt idx="112">
                  <c:v>-5.7396307286854504E-3</c:v>
                </c:pt>
                <c:pt idx="113">
                  <c:v>-8.9661422314925524E-3</c:v>
                </c:pt>
                <c:pt idx="114">
                  <c:v>-7.9580774384813546E-3</c:v>
                </c:pt>
                <c:pt idx="115">
                  <c:v>-9.3579869520580318E-3</c:v>
                </c:pt>
                <c:pt idx="116">
                  <c:v>-8.4217889465293527E-3</c:v>
                </c:pt>
                <c:pt idx="117">
                  <c:v>4.6125103134036463E-2</c:v>
                </c:pt>
                <c:pt idx="118">
                  <c:v>3.8536311595895011E-2</c:v>
                </c:pt>
                <c:pt idx="119">
                  <c:v>7.5456502088147401E-2</c:v>
                </c:pt>
                <c:pt idx="120">
                  <c:v>1.6587680522804682E-2</c:v>
                </c:pt>
                <c:pt idx="121">
                  <c:v>4.7134055692556076E-2</c:v>
                </c:pt>
                <c:pt idx="122">
                  <c:v>5.6590991423097904E-2</c:v>
                </c:pt>
                <c:pt idx="123">
                  <c:v>0.1491105060425307</c:v>
                </c:pt>
                <c:pt idx="124">
                  <c:v>8.6575147604393027E-2</c:v>
                </c:pt>
                <c:pt idx="125">
                  <c:v>5.5647093410411574E-2</c:v>
                </c:pt>
                <c:pt idx="126">
                  <c:v>7.4810559358219925E-2</c:v>
                </c:pt>
                <c:pt idx="127">
                  <c:v>2.5381054958199683E-2</c:v>
                </c:pt>
                <c:pt idx="128">
                  <c:v>2.4502658478141918E-2</c:v>
                </c:pt>
                <c:pt idx="129">
                  <c:v>-3.5738254530402786E-3</c:v>
                </c:pt>
                <c:pt idx="130">
                  <c:v>1.6975334548901247E-3</c:v>
                </c:pt>
                <c:pt idx="131">
                  <c:v>-3.285611556956627E-3</c:v>
                </c:pt>
                <c:pt idx="132">
                  <c:v>2.1874366515890621E-2</c:v>
                </c:pt>
                <c:pt idx="133">
                  <c:v>1.6861851945788587E-2</c:v>
                </c:pt>
                <c:pt idx="134">
                  <c:v>2.5262575014074612E-2</c:v>
                </c:pt>
                <c:pt idx="135">
                  <c:v>5.0768443739942194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1086-4525-8B78-AE6AA3F698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3187840"/>
        <c:axId val="173189376"/>
        <c:extLst>
          <c:ext xmlns:c15="http://schemas.microsoft.com/office/drawing/2012/chart" uri="{02D57815-91ED-43cb-92C2-25804820EDAC}">
            <c15:filteredScatter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Κατακρήμνιση!$Q$2</c15:sqref>
                        </c15:formulaRef>
                      </c:ext>
                    </c:extLst>
                    <c:strCache>
                      <c:ptCount val="1"/>
                      <c:pt idx="0">
                        <c:v>9ωρη πρόγνωση</c:v>
                      </c:pt>
                    </c:strCache>
                  </c:strRef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Κατακρήμνιση!$M$3:$M$138</c15:sqref>
                        </c15:formulaRef>
                      </c:ext>
                    </c:extLst>
                    <c:numCache>
                      <c:formatCode>d/m/yy\ h:mm;@</c:formatCode>
                      <c:ptCount val="136"/>
                      <c:pt idx="0">
                        <c:v>38336</c:v>
                      </c:pt>
                      <c:pt idx="1">
                        <c:v>38336.125</c:v>
                      </c:pt>
                      <c:pt idx="2">
                        <c:v>38336.25</c:v>
                      </c:pt>
                      <c:pt idx="3">
                        <c:v>38336.375</c:v>
                      </c:pt>
                      <c:pt idx="4">
                        <c:v>38336.5</c:v>
                      </c:pt>
                      <c:pt idx="5">
                        <c:v>38336.625</c:v>
                      </c:pt>
                      <c:pt idx="6">
                        <c:v>38336.75</c:v>
                      </c:pt>
                      <c:pt idx="7">
                        <c:v>38336.875</c:v>
                      </c:pt>
                      <c:pt idx="8">
                        <c:v>38337</c:v>
                      </c:pt>
                      <c:pt idx="9">
                        <c:v>38337.125</c:v>
                      </c:pt>
                      <c:pt idx="10">
                        <c:v>38337.25</c:v>
                      </c:pt>
                      <c:pt idx="11">
                        <c:v>38337.375</c:v>
                      </c:pt>
                      <c:pt idx="12">
                        <c:v>38337.5</c:v>
                      </c:pt>
                      <c:pt idx="13">
                        <c:v>38337.625</c:v>
                      </c:pt>
                      <c:pt idx="14">
                        <c:v>38337.75</c:v>
                      </c:pt>
                      <c:pt idx="15">
                        <c:v>38337.875</c:v>
                      </c:pt>
                      <c:pt idx="16">
                        <c:v>38338</c:v>
                      </c:pt>
                      <c:pt idx="17">
                        <c:v>38338.125</c:v>
                      </c:pt>
                      <c:pt idx="18">
                        <c:v>38338.25</c:v>
                      </c:pt>
                      <c:pt idx="19">
                        <c:v>38338.375</c:v>
                      </c:pt>
                      <c:pt idx="20">
                        <c:v>38338.5</c:v>
                      </c:pt>
                      <c:pt idx="21">
                        <c:v>38338.625</c:v>
                      </c:pt>
                      <c:pt idx="22">
                        <c:v>38338.75</c:v>
                      </c:pt>
                      <c:pt idx="23">
                        <c:v>38338.875</c:v>
                      </c:pt>
                      <c:pt idx="24">
                        <c:v>38339</c:v>
                      </c:pt>
                      <c:pt idx="25">
                        <c:v>38339.125</c:v>
                      </c:pt>
                      <c:pt idx="26">
                        <c:v>38339.25</c:v>
                      </c:pt>
                      <c:pt idx="27">
                        <c:v>38339.375</c:v>
                      </c:pt>
                      <c:pt idx="28">
                        <c:v>38339.5</c:v>
                      </c:pt>
                      <c:pt idx="29">
                        <c:v>38339.625</c:v>
                      </c:pt>
                      <c:pt idx="30">
                        <c:v>38339.75</c:v>
                      </c:pt>
                      <c:pt idx="31">
                        <c:v>38339.875</c:v>
                      </c:pt>
                      <c:pt idx="32">
                        <c:v>38340</c:v>
                      </c:pt>
                      <c:pt idx="33">
                        <c:v>38340.125</c:v>
                      </c:pt>
                      <c:pt idx="34">
                        <c:v>38340.25</c:v>
                      </c:pt>
                      <c:pt idx="35">
                        <c:v>38340.375</c:v>
                      </c:pt>
                      <c:pt idx="36">
                        <c:v>38340.5</c:v>
                      </c:pt>
                      <c:pt idx="37">
                        <c:v>38340.625</c:v>
                      </c:pt>
                      <c:pt idx="38">
                        <c:v>38340.75</c:v>
                      </c:pt>
                      <c:pt idx="39">
                        <c:v>38340.875</c:v>
                      </c:pt>
                      <c:pt idx="40">
                        <c:v>38341</c:v>
                      </c:pt>
                      <c:pt idx="41">
                        <c:v>38341.125</c:v>
                      </c:pt>
                      <c:pt idx="42">
                        <c:v>38341.25</c:v>
                      </c:pt>
                      <c:pt idx="43">
                        <c:v>38341.375</c:v>
                      </c:pt>
                      <c:pt idx="44">
                        <c:v>38341.5</c:v>
                      </c:pt>
                      <c:pt idx="45">
                        <c:v>38341.625</c:v>
                      </c:pt>
                      <c:pt idx="46">
                        <c:v>38341.75</c:v>
                      </c:pt>
                      <c:pt idx="47">
                        <c:v>38341.875</c:v>
                      </c:pt>
                      <c:pt idx="48">
                        <c:v>38342</c:v>
                      </c:pt>
                      <c:pt idx="49">
                        <c:v>38342.125</c:v>
                      </c:pt>
                      <c:pt idx="50">
                        <c:v>38342.25</c:v>
                      </c:pt>
                      <c:pt idx="51">
                        <c:v>38342.375</c:v>
                      </c:pt>
                      <c:pt idx="52">
                        <c:v>38342.5</c:v>
                      </c:pt>
                      <c:pt idx="53">
                        <c:v>38342.625</c:v>
                      </c:pt>
                      <c:pt idx="54">
                        <c:v>38342.75</c:v>
                      </c:pt>
                      <c:pt idx="55">
                        <c:v>38342.875</c:v>
                      </c:pt>
                      <c:pt idx="56">
                        <c:v>38343</c:v>
                      </c:pt>
                      <c:pt idx="57">
                        <c:v>38343.125</c:v>
                      </c:pt>
                      <c:pt idx="58">
                        <c:v>38343.25</c:v>
                      </c:pt>
                      <c:pt idx="59">
                        <c:v>38343.375</c:v>
                      </c:pt>
                      <c:pt idx="60">
                        <c:v>38343.5</c:v>
                      </c:pt>
                      <c:pt idx="61">
                        <c:v>38343.625</c:v>
                      </c:pt>
                      <c:pt idx="62">
                        <c:v>38343.75</c:v>
                      </c:pt>
                      <c:pt idx="63">
                        <c:v>38343.875</c:v>
                      </c:pt>
                      <c:pt idx="64">
                        <c:v>38344</c:v>
                      </c:pt>
                      <c:pt idx="65">
                        <c:v>38344.125</c:v>
                      </c:pt>
                      <c:pt idx="66">
                        <c:v>38344.25</c:v>
                      </c:pt>
                      <c:pt idx="67">
                        <c:v>38344.375</c:v>
                      </c:pt>
                      <c:pt idx="68">
                        <c:v>38344.5</c:v>
                      </c:pt>
                      <c:pt idx="69">
                        <c:v>38344.625</c:v>
                      </c:pt>
                      <c:pt idx="70">
                        <c:v>38344.75</c:v>
                      </c:pt>
                      <c:pt idx="71">
                        <c:v>38344.875</c:v>
                      </c:pt>
                      <c:pt idx="72">
                        <c:v>38345</c:v>
                      </c:pt>
                      <c:pt idx="73">
                        <c:v>38345.125</c:v>
                      </c:pt>
                      <c:pt idx="74">
                        <c:v>38345.25</c:v>
                      </c:pt>
                      <c:pt idx="75">
                        <c:v>38345.375</c:v>
                      </c:pt>
                      <c:pt idx="76">
                        <c:v>38345.5</c:v>
                      </c:pt>
                      <c:pt idx="77">
                        <c:v>38345.625</c:v>
                      </c:pt>
                      <c:pt idx="78">
                        <c:v>38345.75</c:v>
                      </c:pt>
                      <c:pt idx="79">
                        <c:v>38345.875</c:v>
                      </c:pt>
                      <c:pt idx="80">
                        <c:v>38346</c:v>
                      </c:pt>
                      <c:pt idx="81">
                        <c:v>38346.125</c:v>
                      </c:pt>
                      <c:pt idx="82">
                        <c:v>38346.25</c:v>
                      </c:pt>
                      <c:pt idx="83">
                        <c:v>38346.375</c:v>
                      </c:pt>
                      <c:pt idx="84">
                        <c:v>38346.5</c:v>
                      </c:pt>
                      <c:pt idx="85">
                        <c:v>38346.625</c:v>
                      </c:pt>
                      <c:pt idx="86">
                        <c:v>38346.75</c:v>
                      </c:pt>
                      <c:pt idx="87">
                        <c:v>38346.875</c:v>
                      </c:pt>
                      <c:pt idx="88">
                        <c:v>38347</c:v>
                      </c:pt>
                      <c:pt idx="89">
                        <c:v>38347.125</c:v>
                      </c:pt>
                      <c:pt idx="90">
                        <c:v>38347.25</c:v>
                      </c:pt>
                      <c:pt idx="91">
                        <c:v>38347.375</c:v>
                      </c:pt>
                      <c:pt idx="92">
                        <c:v>38347.5</c:v>
                      </c:pt>
                      <c:pt idx="93">
                        <c:v>38347.625</c:v>
                      </c:pt>
                      <c:pt idx="94">
                        <c:v>38347.75</c:v>
                      </c:pt>
                      <c:pt idx="95">
                        <c:v>38347.875</c:v>
                      </c:pt>
                      <c:pt idx="96">
                        <c:v>38348</c:v>
                      </c:pt>
                      <c:pt idx="97">
                        <c:v>38348.125</c:v>
                      </c:pt>
                      <c:pt idx="98">
                        <c:v>38348.25</c:v>
                      </c:pt>
                      <c:pt idx="99">
                        <c:v>38348.375</c:v>
                      </c:pt>
                      <c:pt idx="100">
                        <c:v>38348.5</c:v>
                      </c:pt>
                      <c:pt idx="101">
                        <c:v>38348.625</c:v>
                      </c:pt>
                      <c:pt idx="102">
                        <c:v>38348.75</c:v>
                      </c:pt>
                      <c:pt idx="103">
                        <c:v>38348.875</c:v>
                      </c:pt>
                      <c:pt idx="104">
                        <c:v>38349</c:v>
                      </c:pt>
                      <c:pt idx="105">
                        <c:v>38349.125</c:v>
                      </c:pt>
                      <c:pt idx="106">
                        <c:v>38349.25</c:v>
                      </c:pt>
                      <c:pt idx="107">
                        <c:v>38349.375</c:v>
                      </c:pt>
                      <c:pt idx="108">
                        <c:v>38349.5</c:v>
                      </c:pt>
                      <c:pt idx="109">
                        <c:v>38349.625</c:v>
                      </c:pt>
                      <c:pt idx="110">
                        <c:v>38349.75</c:v>
                      </c:pt>
                      <c:pt idx="111">
                        <c:v>38349.875</c:v>
                      </c:pt>
                      <c:pt idx="112">
                        <c:v>38350</c:v>
                      </c:pt>
                      <c:pt idx="113">
                        <c:v>38350.125</c:v>
                      </c:pt>
                      <c:pt idx="114">
                        <c:v>38350.25</c:v>
                      </c:pt>
                      <c:pt idx="115">
                        <c:v>38350.375</c:v>
                      </c:pt>
                      <c:pt idx="116">
                        <c:v>38350.5</c:v>
                      </c:pt>
                      <c:pt idx="117">
                        <c:v>38350.625</c:v>
                      </c:pt>
                      <c:pt idx="118">
                        <c:v>38350.75</c:v>
                      </c:pt>
                      <c:pt idx="119">
                        <c:v>38350.875</c:v>
                      </c:pt>
                      <c:pt idx="120">
                        <c:v>38351</c:v>
                      </c:pt>
                      <c:pt idx="121">
                        <c:v>38351.125</c:v>
                      </c:pt>
                      <c:pt idx="122">
                        <c:v>38351.25</c:v>
                      </c:pt>
                      <c:pt idx="123">
                        <c:v>38351.375</c:v>
                      </c:pt>
                      <c:pt idx="124">
                        <c:v>38351.5</c:v>
                      </c:pt>
                      <c:pt idx="125">
                        <c:v>38351.625</c:v>
                      </c:pt>
                      <c:pt idx="126">
                        <c:v>38351.75</c:v>
                      </c:pt>
                      <c:pt idx="127">
                        <c:v>38351.875</c:v>
                      </c:pt>
                      <c:pt idx="128">
                        <c:v>38352</c:v>
                      </c:pt>
                      <c:pt idx="129">
                        <c:v>38352.125</c:v>
                      </c:pt>
                      <c:pt idx="130">
                        <c:v>38352.25</c:v>
                      </c:pt>
                      <c:pt idx="131">
                        <c:v>38352.375</c:v>
                      </c:pt>
                      <c:pt idx="132">
                        <c:v>38352.5</c:v>
                      </c:pt>
                      <c:pt idx="133">
                        <c:v>38352.625</c:v>
                      </c:pt>
                      <c:pt idx="134">
                        <c:v>38352.75</c:v>
                      </c:pt>
                      <c:pt idx="135">
                        <c:v>38352.875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Κατακρήμνιση!$Q$3:$Q$138</c15:sqref>
                        </c15:formulaRef>
                      </c:ext>
                    </c:extLst>
                    <c:numCache>
                      <c:formatCode>General</c:formatCode>
                      <c:ptCount val="136"/>
                      <c:pt idx="0">
                        <c:v>-4.4146594344211282E-2</c:v>
                      </c:pt>
                      <c:pt idx="1">
                        <c:v>-5.9733278236723988E-2</c:v>
                      </c:pt>
                      <c:pt idx="2">
                        <c:v>-5.4837150654666197E-2</c:v>
                      </c:pt>
                      <c:pt idx="3">
                        <c:v>-3.8261068947623531E-2</c:v>
                      </c:pt>
                      <c:pt idx="4">
                        <c:v>-4.6037692882254663E-2</c:v>
                      </c:pt>
                      <c:pt idx="5">
                        <c:v>-6.4488356070082548E-2</c:v>
                      </c:pt>
                      <c:pt idx="6">
                        <c:v>-4.7987550666656803E-2</c:v>
                      </c:pt>
                      <c:pt idx="7">
                        <c:v>-4.2169164104108744E-2</c:v>
                      </c:pt>
                      <c:pt idx="8">
                        <c:v>-4.4146594344211282E-2</c:v>
                      </c:pt>
                      <c:pt idx="9">
                        <c:v>-5.9733278236723988E-2</c:v>
                      </c:pt>
                      <c:pt idx="10">
                        <c:v>-5.4837150654666197E-2</c:v>
                      </c:pt>
                      <c:pt idx="11">
                        <c:v>-3.8261068947623531E-2</c:v>
                      </c:pt>
                      <c:pt idx="12">
                        <c:v>-4.6037692882254663E-2</c:v>
                      </c:pt>
                      <c:pt idx="13">
                        <c:v>-6.4488356070082548E-2</c:v>
                      </c:pt>
                      <c:pt idx="14">
                        <c:v>-4.7987550666656803E-2</c:v>
                      </c:pt>
                      <c:pt idx="15">
                        <c:v>-4.2169164104108744E-2</c:v>
                      </c:pt>
                      <c:pt idx="16">
                        <c:v>-4.4146594344211282E-2</c:v>
                      </c:pt>
                      <c:pt idx="17">
                        <c:v>-5.9733278236723988E-2</c:v>
                      </c:pt>
                      <c:pt idx="18">
                        <c:v>-5.4837150654666197E-2</c:v>
                      </c:pt>
                      <c:pt idx="19">
                        <c:v>-3.8261068947623531E-2</c:v>
                      </c:pt>
                      <c:pt idx="20">
                        <c:v>-4.6037692882254663E-2</c:v>
                      </c:pt>
                      <c:pt idx="21">
                        <c:v>-6.4488356070082548E-2</c:v>
                      </c:pt>
                      <c:pt idx="22">
                        <c:v>-4.7987550666656803E-2</c:v>
                      </c:pt>
                      <c:pt idx="23">
                        <c:v>-4.2169164104108744E-2</c:v>
                      </c:pt>
                      <c:pt idx="24">
                        <c:v>-4.4146594344211282E-2</c:v>
                      </c:pt>
                      <c:pt idx="25">
                        <c:v>-5.9733278236723988E-2</c:v>
                      </c:pt>
                      <c:pt idx="26">
                        <c:v>-5.4837150654666197E-2</c:v>
                      </c:pt>
                      <c:pt idx="27">
                        <c:v>5.1540738776507243E-2</c:v>
                      </c:pt>
                      <c:pt idx="28">
                        <c:v>1.2159032827596095</c:v>
                      </c:pt>
                      <c:pt idx="29">
                        <c:v>0.53831568717230172</c:v>
                      </c:pt>
                      <c:pt idx="30">
                        <c:v>0.13027842429442715</c:v>
                      </c:pt>
                      <c:pt idx="31">
                        <c:v>0.24152489158558363</c:v>
                      </c:pt>
                      <c:pt idx="32">
                        <c:v>0.31263381583078065</c:v>
                      </c:pt>
                      <c:pt idx="33">
                        <c:v>0.79246119399990067</c:v>
                      </c:pt>
                      <c:pt idx="34">
                        <c:v>1.2915790874538904</c:v>
                      </c:pt>
                      <c:pt idx="35">
                        <c:v>0.36963109990835041</c:v>
                      </c:pt>
                      <c:pt idx="36">
                        <c:v>1.2719824453181407E-2</c:v>
                      </c:pt>
                      <c:pt idx="37">
                        <c:v>0.42707270424737925</c:v>
                      </c:pt>
                      <c:pt idx="38">
                        <c:v>9.5024651702807328E-2</c:v>
                      </c:pt>
                      <c:pt idx="39">
                        <c:v>3.9699132940896109E-2</c:v>
                      </c:pt>
                      <c:pt idx="40">
                        <c:v>0.25819189808007453</c:v>
                      </c:pt>
                      <c:pt idx="41">
                        <c:v>0.12619286523986598</c:v>
                      </c:pt>
                      <c:pt idx="42">
                        <c:v>-7.6405892537283956E-3</c:v>
                      </c:pt>
                      <c:pt idx="43">
                        <c:v>-1.5888488946621662E-2</c:v>
                      </c:pt>
                      <c:pt idx="44">
                        <c:v>-1.2115312352614972E-2</c:v>
                      </c:pt>
                      <c:pt idx="45">
                        <c:v>-4.4720206354777969E-2</c:v>
                      </c:pt>
                      <c:pt idx="46">
                        <c:v>-3.4872653008192159E-2</c:v>
                      </c:pt>
                      <c:pt idx="47">
                        <c:v>-3.4726483008659756E-2</c:v>
                      </c:pt>
                      <c:pt idx="48">
                        <c:v>-3.8473300400594261E-2</c:v>
                      </c:pt>
                      <c:pt idx="49">
                        <c:v>-3.18650702748281E-2</c:v>
                      </c:pt>
                      <c:pt idx="50">
                        <c:v>-3.7152843950666967E-2</c:v>
                      </c:pt>
                      <c:pt idx="51">
                        <c:v>-3.470280475248487E-2</c:v>
                      </c:pt>
                      <c:pt idx="52">
                        <c:v>-4.2275853688877867E-2</c:v>
                      </c:pt>
                      <c:pt idx="53">
                        <c:v>-5.7529806627403882E-2</c:v>
                      </c:pt>
                      <c:pt idx="54">
                        <c:v>-3.7393955893632841E-2</c:v>
                      </c:pt>
                      <c:pt idx="55">
                        <c:v>-2.4568899327358912E-2</c:v>
                      </c:pt>
                      <c:pt idx="56">
                        <c:v>-2.5891767894828291E-2</c:v>
                      </c:pt>
                      <c:pt idx="57">
                        <c:v>-5.3184129427768734E-2</c:v>
                      </c:pt>
                      <c:pt idx="58">
                        <c:v>-4.8391785862119077E-2</c:v>
                      </c:pt>
                      <c:pt idx="59">
                        <c:v>-3.8261068947623531E-2</c:v>
                      </c:pt>
                      <c:pt idx="60">
                        <c:v>-4.5327571247903861E-2</c:v>
                      </c:pt>
                      <c:pt idx="61">
                        <c:v>-5.991511995991812E-2</c:v>
                      </c:pt>
                      <c:pt idx="62">
                        <c:v>-4.6251380868456871E-2</c:v>
                      </c:pt>
                      <c:pt idx="63">
                        <c:v>-4.1908281026532046E-2</c:v>
                      </c:pt>
                      <c:pt idx="64">
                        <c:v>-4.4058053422445807E-2</c:v>
                      </c:pt>
                      <c:pt idx="65">
                        <c:v>-5.9512014780260893E-2</c:v>
                      </c:pt>
                      <c:pt idx="66">
                        <c:v>-5.4762056207873278E-2</c:v>
                      </c:pt>
                      <c:pt idx="67">
                        <c:v>-3.8261068947623531E-2</c:v>
                      </c:pt>
                      <c:pt idx="68">
                        <c:v>-4.6037692882254663E-2</c:v>
                      </c:pt>
                      <c:pt idx="69">
                        <c:v>-2.867383563917628E-2</c:v>
                      </c:pt>
                      <c:pt idx="70">
                        <c:v>-4.4234734201531303E-2</c:v>
                      </c:pt>
                      <c:pt idx="71">
                        <c:v>-4.2169164104108744E-2</c:v>
                      </c:pt>
                      <c:pt idx="72">
                        <c:v>-4.4051288277186185E-2</c:v>
                      </c:pt>
                      <c:pt idx="73">
                        <c:v>-5.8167429530382703E-2</c:v>
                      </c:pt>
                      <c:pt idx="74">
                        <c:v>-5.3307012225268804E-2</c:v>
                      </c:pt>
                      <c:pt idx="75">
                        <c:v>-3.8261068947623531E-2</c:v>
                      </c:pt>
                      <c:pt idx="76">
                        <c:v>-4.5314742745843219E-2</c:v>
                      </c:pt>
                      <c:pt idx="77">
                        <c:v>-6.4305819823520197E-2</c:v>
                      </c:pt>
                      <c:pt idx="78">
                        <c:v>-4.7312442203528066E-2</c:v>
                      </c:pt>
                      <c:pt idx="79">
                        <c:v>-4.2169164104108744E-2</c:v>
                      </c:pt>
                      <c:pt idx="80">
                        <c:v>-4.4146594344211282E-2</c:v>
                      </c:pt>
                      <c:pt idx="81">
                        <c:v>-5.9733278236723988E-2</c:v>
                      </c:pt>
                      <c:pt idx="82">
                        <c:v>-5.4837150654666197E-2</c:v>
                      </c:pt>
                      <c:pt idx="83">
                        <c:v>-3.8261068947623531E-2</c:v>
                      </c:pt>
                      <c:pt idx="84">
                        <c:v>-4.6037692882254663E-2</c:v>
                      </c:pt>
                      <c:pt idx="85">
                        <c:v>-6.4224247202628773E-2</c:v>
                      </c:pt>
                      <c:pt idx="86">
                        <c:v>-4.7987550666656803E-2</c:v>
                      </c:pt>
                      <c:pt idx="87">
                        <c:v>-4.2169164104108744E-2</c:v>
                      </c:pt>
                      <c:pt idx="88">
                        <c:v>-4.4146594344211282E-2</c:v>
                      </c:pt>
                      <c:pt idx="89">
                        <c:v>-5.9733278236723988E-2</c:v>
                      </c:pt>
                      <c:pt idx="90">
                        <c:v>-5.4331312539070226E-2</c:v>
                      </c:pt>
                      <c:pt idx="91">
                        <c:v>-3.8261068947623531E-2</c:v>
                      </c:pt>
                      <c:pt idx="92">
                        <c:v>-4.6037692882254663E-2</c:v>
                      </c:pt>
                      <c:pt idx="93">
                        <c:v>-6.4488356070082548E-2</c:v>
                      </c:pt>
                      <c:pt idx="94">
                        <c:v>-4.7987550666656803E-2</c:v>
                      </c:pt>
                      <c:pt idx="95">
                        <c:v>-4.2169164104108744E-2</c:v>
                      </c:pt>
                      <c:pt idx="96">
                        <c:v>-4.4146594344211282E-2</c:v>
                      </c:pt>
                      <c:pt idx="97">
                        <c:v>-5.9733278236723988E-2</c:v>
                      </c:pt>
                      <c:pt idx="98">
                        <c:v>-5.4837150654666197E-2</c:v>
                      </c:pt>
                      <c:pt idx="99">
                        <c:v>-3.8261068947623531E-2</c:v>
                      </c:pt>
                      <c:pt idx="100">
                        <c:v>-4.6037692882254663E-2</c:v>
                      </c:pt>
                      <c:pt idx="101">
                        <c:v>-6.4488356070082548E-2</c:v>
                      </c:pt>
                      <c:pt idx="102">
                        <c:v>-4.7987550666656803E-2</c:v>
                      </c:pt>
                      <c:pt idx="103">
                        <c:v>-4.2169164104108744E-2</c:v>
                      </c:pt>
                      <c:pt idx="104">
                        <c:v>-4.4146594344211282E-2</c:v>
                      </c:pt>
                      <c:pt idx="105">
                        <c:v>-5.9733278236723988E-2</c:v>
                      </c:pt>
                      <c:pt idx="106">
                        <c:v>-5.4837150654666197E-2</c:v>
                      </c:pt>
                      <c:pt idx="107">
                        <c:v>-4.5853910510744974E-3</c:v>
                      </c:pt>
                      <c:pt idx="108">
                        <c:v>-4.250899455085462E-2</c:v>
                      </c:pt>
                      <c:pt idx="109">
                        <c:v>-4.6581095854629419E-2</c:v>
                      </c:pt>
                      <c:pt idx="110">
                        <c:v>-4.6111142434094053E-2</c:v>
                      </c:pt>
                      <c:pt idx="111">
                        <c:v>-4.0727242019228581E-2</c:v>
                      </c:pt>
                      <c:pt idx="112">
                        <c:v>0.44840388823797089</c:v>
                      </c:pt>
                      <c:pt idx="113">
                        <c:v>0.32585062066054077</c:v>
                      </c:pt>
                      <c:pt idx="114">
                        <c:v>0.48295459513870631</c:v>
                      </c:pt>
                      <c:pt idx="115">
                        <c:v>1.427972055680695E-2</c:v>
                      </c:pt>
                      <c:pt idx="116">
                        <c:v>0.19462460744934573</c:v>
                      </c:pt>
                      <c:pt idx="117">
                        <c:v>0.48911769802620941</c:v>
                      </c:pt>
                      <c:pt idx="118">
                        <c:v>1.1423615078209637</c:v>
                      </c:pt>
                      <c:pt idx="119">
                        <c:v>0.52639945303465274</c:v>
                      </c:pt>
                      <c:pt idx="120">
                        <c:v>1.6136042639765147E-2</c:v>
                      </c:pt>
                      <c:pt idx="121">
                        <c:v>0.49377374856195644</c:v>
                      </c:pt>
                      <c:pt idx="122">
                        <c:v>7.2095698361589619E-2</c:v>
                      </c:pt>
                      <c:pt idx="123">
                        <c:v>4.0142894471402978E-2</c:v>
                      </c:pt>
                      <c:pt idx="124">
                        <c:v>-1.8019497881239077E-2</c:v>
                      </c:pt>
                      <c:pt idx="125">
                        <c:v>-1.6760592632273356E-2</c:v>
                      </c:pt>
                      <c:pt idx="126">
                        <c:v>4.7826442107805109E-2</c:v>
                      </c:pt>
                      <c:pt idx="127">
                        <c:v>0.22685688597336157</c:v>
                      </c:pt>
                      <c:pt idx="128">
                        <c:v>0.10632809807429183</c:v>
                      </c:pt>
                      <c:pt idx="129">
                        <c:v>0.11146443697116251</c:v>
                      </c:pt>
                      <c:pt idx="130">
                        <c:v>0.37260239626666802</c:v>
                      </c:pt>
                      <c:pt idx="131">
                        <c:v>1.611928795640976E-2</c:v>
                      </c:pt>
                      <c:pt idx="132">
                        <c:v>0.20901054677020778</c:v>
                      </c:pt>
                      <c:pt idx="133">
                        <c:v>0.37142595522860555</c:v>
                      </c:pt>
                      <c:pt idx="134">
                        <c:v>0.30615517498411238</c:v>
                      </c:pt>
                      <c:pt idx="135">
                        <c:v>2.7604507497720733E-2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5-1086-4525-8B78-AE6AA3F6984C}"/>
                  </c:ext>
                </c:extLst>
              </c15:ser>
            </c15:filteredScatterSeries>
            <c15:filteredScatte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Κατακρήμνιση!$S$2</c15:sqref>
                        </c15:formulaRef>
                      </c:ext>
                    </c:extLst>
                    <c:strCache>
                      <c:ptCount val="1"/>
                      <c:pt idx="0">
                        <c:v>15ωρη πρόγνωση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Κατακρήμνιση!$M$3:$M$138</c15:sqref>
                        </c15:formulaRef>
                      </c:ext>
                    </c:extLst>
                    <c:numCache>
                      <c:formatCode>d/m/yy\ h:mm;@</c:formatCode>
                      <c:ptCount val="136"/>
                      <c:pt idx="0">
                        <c:v>38336</c:v>
                      </c:pt>
                      <c:pt idx="1">
                        <c:v>38336.125</c:v>
                      </c:pt>
                      <c:pt idx="2">
                        <c:v>38336.25</c:v>
                      </c:pt>
                      <c:pt idx="3">
                        <c:v>38336.375</c:v>
                      </c:pt>
                      <c:pt idx="4">
                        <c:v>38336.5</c:v>
                      </c:pt>
                      <c:pt idx="5">
                        <c:v>38336.625</c:v>
                      </c:pt>
                      <c:pt idx="6">
                        <c:v>38336.75</c:v>
                      </c:pt>
                      <c:pt idx="7">
                        <c:v>38336.875</c:v>
                      </c:pt>
                      <c:pt idx="8">
                        <c:v>38337</c:v>
                      </c:pt>
                      <c:pt idx="9">
                        <c:v>38337.125</c:v>
                      </c:pt>
                      <c:pt idx="10">
                        <c:v>38337.25</c:v>
                      </c:pt>
                      <c:pt idx="11">
                        <c:v>38337.375</c:v>
                      </c:pt>
                      <c:pt idx="12">
                        <c:v>38337.5</c:v>
                      </c:pt>
                      <c:pt idx="13">
                        <c:v>38337.625</c:v>
                      </c:pt>
                      <c:pt idx="14">
                        <c:v>38337.75</c:v>
                      </c:pt>
                      <c:pt idx="15">
                        <c:v>38337.875</c:v>
                      </c:pt>
                      <c:pt idx="16">
                        <c:v>38338</c:v>
                      </c:pt>
                      <c:pt idx="17">
                        <c:v>38338.125</c:v>
                      </c:pt>
                      <c:pt idx="18">
                        <c:v>38338.25</c:v>
                      </c:pt>
                      <c:pt idx="19">
                        <c:v>38338.375</c:v>
                      </c:pt>
                      <c:pt idx="20">
                        <c:v>38338.5</c:v>
                      </c:pt>
                      <c:pt idx="21">
                        <c:v>38338.625</c:v>
                      </c:pt>
                      <c:pt idx="22">
                        <c:v>38338.75</c:v>
                      </c:pt>
                      <c:pt idx="23">
                        <c:v>38338.875</c:v>
                      </c:pt>
                      <c:pt idx="24">
                        <c:v>38339</c:v>
                      </c:pt>
                      <c:pt idx="25">
                        <c:v>38339.125</c:v>
                      </c:pt>
                      <c:pt idx="26">
                        <c:v>38339.25</c:v>
                      </c:pt>
                      <c:pt idx="27">
                        <c:v>38339.375</c:v>
                      </c:pt>
                      <c:pt idx="28">
                        <c:v>38339.5</c:v>
                      </c:pt>
                      <c:pt idx="29">
                        <c:v>38339.625</c:v>
                      </c:pt>
                      <c:pt idx="30">
                        <c:v>38339.75</c:v>
                      </c:pt>
                      <c:pt idx="31">
                        <c:v>38339.875</c:v>
                      </c:pt>
                      <c:pt idx="32">
                        <c:v>38340</c:v>
                      </c:pt>
                      <c:pt idx="33">
                        <c:v>38340.125</c:v>
                      </c:pt>
                      <c:pt idx="34">
                        <c:v>38340.25</c:v>
                      </c:pt>
                      <c:pt idx="35">
                        <c:v>38340.375</c:v>
                      </c:pt>
                      <c:pt idx="36">
                        <c:v>38340.5</c:v>
                      </c:pt>
                      <c:pt idx="37">
                        <c:v>38340.625</c:v>
                      </c:pt>
                      <c:pt idx="38">
                        <c:v>38340.75</c:v>
                      </c:pt>
                      <c:pt idx="39">
                        <c:v>38340.875</c:v>
                      </c:pt>
                      <c:pt idx="40">
                        <c:v>38341</c:v>
                      </c:pt>
                      <c:pt idx="41">
                        <c:v>38341.125</c:v>
                      </c:pt>
                      <c:pt idx="42">
                        <c:v>38341.25</c:v>
                      </c:pt>
                      <c:pt idx="43">
                        <c:v>38341.375</c:v>
                      </c:pt>
                      <c:pt idx="44">
                        <c:v>38341.5</c:v>
                      </c:pt>
                      <c:pt idx="45">
                        <c:v>38341.625</c:v>
                      </c:pt>
                      <c:pt idx="46">
                        <c:v>38341.75</c:v>
                      </c:pt>
                      <c:pt idx="47">
                        <c:v>38341.875</c:v>
                      </c:pt>
                      <c:pt idx="48">
                        <c:v>38342</c:v>
                      </c:pt>
                      <c:pt idx="49">
                        <c:v>38342.125</c:v>
                      </c:pt>
                      <c:pt idx="50">
                        <c:v>38342.25</c:v>
                      </c:pt>
                      <c:pt idx="51">
                        <c:v>38342.375</c:v>
                      </c:pt>
                      <c:pt idx="52">
                        <c:v>38342.5</c:v>
                      </c:pt>
                      <c:pt idx="53">
                        <c:v>38342.625</c:v>
                      </c:pt>
                      <c:pt idx="54">
                        <c:v>38342.75</c:v>
                      </c:pt>
                      <c:pt idx="55">
                        <c:v>38342.875</c:v>
                      </c:pt>
                      <c:pt idx="56">
                        <c:v>38343</c:v>
                      </c:pt>
                      <c:pt idx="57">
                        <c:v>38343.125</c:v>
                      </c:pt>
                      <c:pt idx="58">
                        <c:v>38343.25</c:v>
                      </c:pt>
                      <c:pt idx="59">
                        <c:v>38343.375</c:v>
                      </c:pt>
                      <c:pt idx="60">
                        <c:v>38343.5</c:v>
                      </c:pt>
                      <c:pt idx="61">
                        <c:v>38343.625</c:v>
                      </c:pt>
                      <c:pt idx="62">
                        <c:v>38343.75</c:v>
                      </c:pt>
                      <c:pt idx="63">
                        <c:v>38343.875</c:v>
                      </c:pt>
                      <c:pt idx="64">
                        <c:v>38344</c:v>
                      </c:pt>
                      <c:pt idx="65">
                        <c:v>38344.125</c:v>
                      </c:pt>
                      <c:pt idx="66">
                        <c:v>38344.25</c:v>
                      </c:pt>
                      <c:pt idx="67">
                        <c:v>38344.375</c:v>
                      </c:pt>
                      <c:pt idx="68">
                        <c:v>38344.5</c:v>
                      </c:pt>
                      <c:pt idx="69">
                        <c:v>38344.625</c:v>
                      </c:pt>
                      <c:pt idx="70">
                        <c:v>38344.75</c:v>
                      </c:pt>
                      <c:pt idx="71">
                        <c:v>38344.875</c:v>
                      </c:pt>
                      <c:pt idx="72">
                        <c:v>38345</c:v>
                      </c:pt>
                      <c:pt idx="73">
                        <c:v>38345.125</c:v>
                      </c:pt>
                      <c:pt idx="74">
                        <c:v>38345.25</c:v>
                      </c:pt>
                      <c:pt idx="75">
                        <c:v>38345.375</c:v>
                      </c:pt>
                      <c:pt idx="76">
                        <c:v>38345.5</c:v>
                      </c:pt>
                      <c:pt idx="77">
                        <c:v>38345.625</c:v>
                      </c:pt>
                      <c:pt idx="78">
                        <c:v>38345.75</c:v>
                      </c:pt>
                      <c:pt idx="79">
                        <c:v>38345.875</c:v>
                      </c:pt>
                      <c:pt idx="80">
                        <c:v>38346</c:v>
                      </c:pt>
                      <c:pt idx="81">
                        <c:v>38346.125</c:v>
                      </c:pt>
                      <c:pt idx="82">
                        <c:v>38346.25</c:v>
                      </c:pt>
                      <c:pt idx="83">
                        <c:v>38346.375</c:v>
                      </c:pt>
                      <c:pt idx="84">
                        <c:v>38346.5</c:v>
                      </c:pt>
                      <c:pt idx="85">
                        <c:v>38346.625</c:v>
                      </c:pt>
                      <c:pt idx="86">
                        <c:v>38346.75</c:v>
                      </c:pt>
                      <c:pt idx="87">
                        <c:v>38346.875</c:v>
                      </c:pt>
                      <c:pt idx="88">
                        <c:v>38347</c:v>
                      </c:pt>
                      <c:pt idx="89">
                        <c:v>38347.125</c:v>
                      </c:pt>
                      <c:pt idx="90">
                        <c:v>38347.25</c:v>
                      </c:pt>
                      <c:pt idx="91">
                        <c:v>38347.375</c:v>
                      </c:pt>
                      <c:pt idx="92">
                        <c:v>38347.5</c:v>
                      </c:pt>
                      <c:pt idx="93">
                        <c:v>38347.625</c:v>
                      </c:pt>
                      <c:pt idx="94">
                        <c:v>38347.75</c:v>
                      </c:pt>
                      <c:pt idx="95">
                        <c:v>38347.875</c:v>
                      </c:pt>
                      <c:pt idx="96">
                        <c:v>38348</c:v>
                      </c:pt>
                      <c:pt idx="97">
                        <c:v>38348.125</c:v>
                      </c:pt>
                      <c:pt idx="98">
                        <c:v>38348.25</c:v>
                      </c:pt>
                      <c:pt idx="99">
                        <c:v>38348.375</c:v>
                      </c:pt>
                      <c:pt idx="100">
                        <c:v>38348.5</c:v>
                      </c:pt>
                      <c:pt idx="101">
                        <c:v>38348.625</c:v>
                      </c:pt>
                      <c:pt idx="102">
                        <c:v>38348.75</c:v>
                      </c:pt>
                      <c:pt idx="103">
                        <c:v>38348.875</c:v>
                      </c:pt>
                      <c:pt idx="104">
                        <c:v>38349</c:v>
                      </c:pt>
                      <c:pt idx="105">
                        <c:v>38349.125</c:v>
                      </c:pt>
                      <c:pt idx="106">
                        <c:v>38349.25</c:v>
                      </c:pt>
                      <c:pt idx="107">
                        <c:v>38349.375</c:v>
                      </c:pt>
                      <c:pt idx="108">
                        <c:v>38349.5</c:v>
                      </c:pt>
                      <c:pt idx="109">
                        <c:v>38349.625</c:v>
                      </c:pt>
                      <c:pt idx="110">
                        <c:v>38349.75</c:v>
                      </c:pt>
                      <c:pt idx="111">
                        <c:v>38349.875</c:v>
                      </c:pt>
                      <c:pt idx="112">
                        <c:v>38350</c:v>
                      </c:pt>
                      <c:pt idx="113">
                        <c:v>38350.125</c:v>
                      </c:pt>
                      <c:pt idx="114">
                        <c:v>38350.25</c:v>
                      </c:pt>
                      <c:pt idx="115">
                        <c:v>38350.375</c:v>
                      </c:pt>
                      <c:pt idx="116">
                        <c:v>38350.5</c:v>
                      </c:pt>
                      <c:pt idx="117">
                        <c:v>38350.625</c:v>
                      </c:pt>
                      <c:pt idx="118">
                        <c:v>38350.75</c:v>
                      </c:pt>
                      <c:pt idx="119">
                        <c:v>38350.875</c:v>
                      </c:pt>
                      <c:pt idx="120">
                        <c:v>38351</c:v>
                      </c:pt>
                      <c:pt idx="121">
                        <c:v>38351.125</c:v>
                      </c:pt>
                      <c:pt idx="122">
                        <c:v>38351.25</c:v>
                      </c:pt>
                      <c:pt idx="123">
                        <c:v>38351.375</c:v>
                      </c:pt>
                      <c:pt idx="124">
                        <c:v>38351.5</c:v>
                      </c:pt>
                      <c:pt idx="125">
                        <c:v>38351.625</c:v>
                      </c:pt>
                      <c:pt idx="126">
                        <c:v>38351.75</c:v>
                      </c:pt>
                      <c:pt idx="127">
                        <c:v>38351.875</c:v>
                      </c:pt>
                      <c:pt idx="128">
                        <c:v>38352</c:v>
                      </c:pt>
                      <c:pt idx="129">
                        <c:v>38352.125</c:v>
                      </c:pt>
                      <c:pt idx="130">
                        <c:v>38352.25</c:v>
                      </c:pt>
                      <c:pt idx="131">
                        <c:v>38352.375</c:v>
                      </c:pt>
                      <c:pt idx="132">
                        <c:v>38352.5</c:v>
                      </c:pt>
                      <c:pt idx="133">
                        <c:v>38352.625</c:v>
                      </c:pt>
                      <c:pt idx="134">
                        <c:v>38352.75</c:v>
                      </c:pt>
                      <c:pt idx="135">
                        <c:v>38352.87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Κατακρήμνιση!$S$3:$S$138</c15:sqref>
                        </c15:formulaRef>
                      </c:ext>
                    </c:extLst>
                    <c:numCache>
                      <c:formatCode>General</c:formatCode>
                      <c:ptCount val="136"/>
                      <c:pt idx="0">
                        <c:v>-1.9771518958294272E-2</c:v>
                      </c:pt>
                      <c:pt idx="1">
                        <c:v>-1.8773879011678728E-2</c:v>
                      </c:pt>
                      <c:pt idx="2">
                        <c:v>-1.7791059687648537E-2</c:v>
                      </c:pt>
                      <c:pt idx="3">
                        <c:v>-2.045501827967643E-2</c:v>
                      </c:pt>
                      <c:pt idx="4">
                        <c:v>-2.1003656076011394E-2</c:v>
                      </c:pt>
                      <c:pt idx="5">
                        <c:v>-1.7850249391960327E-2</c:v>
                      </c:pt>
                      <c:pt idx="6">
                        <c:v>-1.846088047084396E-2</c:v>
                      </c:pt>
                      <c:pt idx="7">
                        <c:v>-2.1422204261344564E-2</c:v>
                      </c:pt>
                      <c:pt idx="8">
                        <c:v>-1.9771518958294272E-2</c:v>
                      </c:pt>
                      <c:pt idx="9">
                        <c:v>-1.8773879011678728E-2</c:v>
                      </c:pt>
                      <c:pt idx="10">
                        <c:v>-1.7791059687648537E-2</c:v>
                      </c:pt>
                      <c:pt idx="11">
                        <c:v>-2.045501827967643E-2</c:v>
                      </c:pt>
                      <c:pt idx="12">
                        <c:v>-2.1003656076011394E-2</c:v>
                      </c:pt>
                      <c:pt idx="13">
                        <c:v>-1.7850249391960327E-2</c:v>
                      </c:pt>
                      <c:pt idx="14">
                        <c:v>-1.846088047084396E-2</c:v>
                      </c:pt>
                      <c:pt idx="15">
                        <c:v>-2.1422204261344564E-2</c:v>
                      </c:pt>
                      <c:pt idx="16">
                        <c:v>-1.9771518958294272E-2</c:v>
                      </c:pt>
                      <c:pt idx="17">
                        <c:v>-1.8773879011678728E-2</c:v>
                      </c:pt>
                      <c:pt idx="18">
                        <c:v>-1.7791059687648537E-2</c:v>
                      </c:pt>
                      <c:pt idx="19">
                        <c:v>-2.045501827967643E-2</c:v>
                      </c:pt>
                      <c:pt idx="20">
                        <c:v>-2.1003656076011394E-2</c:v>
                      </c:pt>
                      <c:pt idx="21">
                        <c:v>-1.7850249391960327E-2</c:v>
                      </c:pt>
                      <c:pt idx="22">
                        <c:v>-1.846088047084396E-2</c:v>
                      </c:pt>
                      <c:pt idx="23">
                        <c:v>-2.1422204261344564E-2</c:v>
                      </c:pt>
                      <c:pt idx="24">
                        <c:v>-1.9771518958294272E-2</c:v>
                      </c:pt>
                      <c:pt idx="25">
                        <c:v>-1.8773879011678728E-2</c:v>
                      </c:pt>
                      <c:pt idx="26">
                        <c:v>-1.7791059687648537E-2</c:v>
                      </c:pt>
                      <c:pt idx="27">
                        <c:v>-2.045501827967643E-2</c:v>
                      </c:pt>
                      <c:pt idx="28">
                        <c:v>-2.1003656076011394E-2</c:v>
                      </c:pt>
                      <c:pt idx="29">
                        <c:v>1.6056614980994467E-3</c:v>
                      </c:pt>
                      <c:pt idx="30">
                        <c:v>0.26178902379782187</c:v>
                      </c:pt>
                      <c:pt idx="31">
                        <c:v>0.21157258098933884</c:v>
                      </c:pt>
                      <c:pt idx="32">
                        <c:v>0.15285193716696327</c:v>
                      </c:pt>
                      <c:pt idx="33">
                        <c:v>0.11020948245675978</c:v>
                      </c:pt>
                      <c:pt idx="34">
                        <c:v>8.9160908225435251E-2</c:v>
                      </c:pt>
                      <c:pt idx="35">
                        <c:v>0.24109974849740823</c:v>
                      </c:pt>
                      <c:pt idx="36">
                        <c:v>0.37308422125700169</c:v>
                      </c:pt>
                      <c:pt idx="37">
                        <c:v>0.24932960524116143</c:v>
                      </c:pt>
                      <c:pt idx="38">
                        <c:v>0.13372950782610801</c:v>
                      </c:pt>
                      <c:pt idx="39">
                        <c:v>0.12646870005258873</c:v>
                      </c:pt>
                      <c:pt idx="40">
                        <c:v>6.2551401625710892E-2</c:v>
                      </c:pt>
                      <c:pt idx="41">
                        <c:v>7.335456302091628E-2</c:v>
                      </c:pt>
                      <c:pt idx="42">
                        <c:v>7.8761358861948322E-2</c:v>
                      </c:pt>
                      <c:pt idx="43">
                        <c:v>5.5932426641199025E-2</c:v>
                      </c:pt>
                      <c:pt idx="44">
                        <c:v>3.3284318668949958E-2</c:v>
                      </c:pt>
                      <c:pt idx="45">
                        <c:v>-9.8130722669272433E-4</c:v>
                      </c:pt>
                      <c:pt idx="46">
                        <c:v>-7.6953060563621431E-3</c:v>
                      </c:pt>
                      <c:pt idx="47">
                        <c:v>-1.0697607149054565E-2</c:v>
                      </c:pt>
                      <c:pt idx="48">
                        <c:v>-1.2190525846439926E-2</c:v>
                      </c:pt>
                      <c:pt idx="49">
                        <c:v>4.8414452848883436E-3</c:v>
                      </c:pt>
                      <c:pt idx="50">
                        <c:v>-8.7222085112573389E-3</c:v>
                      </c:pt>
                      <c:pt idx="51">
                        <c:v>-1.8200025319452147E-2</c:v>
                      </c:pt>
                      <c:pt idx="52">
                        <c:v>-1.7059800993187216E-2</c:v>
                      </c:pt>
                      <c:pt idx="53">
                        <c:v>-1.3896431283011759E-2</c:v>
                      </c:pt>
                      <c:pt idx="54">
                        <c:v>-7.7764977666755098E-3</c:v>
                      </c:pt>
                      <c:pt idx="55">
                        <c:v>-3.751347568110918E-3</c:v>
                      </c:pt>
                      <c:pt idx="56">
                        <c:v>-1.6357412927644109E-2</c:v>
                      </c:pt>
                      <c:pt idx="57">
                        <c:v>-1.8751185805784616E-2</c:v>
                      </c:pt>
                      <c:pt idx="58">
                        <c:v>-8.953977012305837E-3</c:v>
                      </c:pt>
                      <c:pt idx="59">
                        <c:v>-1.8226135652636373E-2</c:v>
                      </c:pt>
                      <c:pt idx="60">
                        <c:v>-1.9416303732674112E-2</c:v>
                      </c:pt>
                      <c:pt idx="61">
                        <c:v>-1.3417121661894717E-2</c:v>
                      </c:pt>
                      <c:pt idx="62">
                        <c:v>-1.6821044380761659E-2</c:v>
                      </c:pt>
                      <c:pt idx="63">
                        <c:v>-2.0916401719989146E-2</c:v>
                      </c:pt>
                      <c:pt idx="64">
                        <c:v>-1.954439445251617E-2</c:v>
                      </c:pt>
                      <c:pt idx="65">
                        <c:v>-1.8509942391024176E-2</c:v>
                      </c:pt>
                      <c:pt idx="66">
                        <c:v>-1.770787065347517E-2</c:v>
                      </c:pt>
                      <c:pt idx="67">
                        <c:v>-2.0437365791447379E-2</c:v>
                      </c:pt>
                      <c:pt idx="68">
                        <c:v>-2.0997665010612395E-2</c:v>
                      </c:pt>
                      <c:pt idx="69">
                        <c:v>-1.7850249391960327E-2</c:v>
                      </c:pt>
                      <c:pt idx="70">
                        <c:v>-1.846088047084396E-2</c:v>
                      </c:pt>
                      <c:pt idx="71">
                        <c:v>-1.3662849124368871E-2</c:v>
                      </c:pt>
                      <c:pt idx="72">
                        <c:v>-1.6225684142965623E-2</c:v>
                      </c:pt>
                      <c:pt idx="73">
                        <c:v>-1.6014750254639637E-2</c:v>
                      </c:pt>
                      <c:pt idx="74">
                        <c:v>-1.7155877484138729E-2</c:v>
                      </c:pt>
                      <c:pt idx="75">
                        <c:v>-2.045501827967643E-2</c:v>
                      </c:pt>
                      <c:pt idx="76">
                        <c:v>-1.9601993616081816E-2</c:v>
                      </c:pt>
                      <c:pt idx="77">
                        <c:v>-1.7512458465781477E-2</c:v>
                      </c:pt>
                      <c:pt idx="78">
                        <c:v>-1.771914754305088E-2</c:v>
                      </c:pt>
                      <c:pt idx="79">
                        <c:v>-2.1422204261344564E-2</c:v>
                      </c:pt>
                      <c:pt idx="80">
                        <c:v>-1.9722600995152557E-2</c:v>
                      </c:pt>
                      <c:pt idx="81">
                        <c:v>-1.8773879011678728E-2</c:v>
                      </c:pt>
                      <c:pt idx="82">
                        <c:v>-1.7791059687648537E-2</c:v>
                      </c:pt>
                      <c:pt idx="83">
                        <c:v>-2.045501827967643E-2</c:v>
                      </c:pt>
                      <c:pt idx="84">
                        <c:v>-2.1003656076011394E-2</c:v>
                      </c:pt>
                      <c:pt idx="85">
                        <c:v>-1.7842837652407753E-2</c:v>
                      </c:pt>
                      <c:pt idx="86">
                        <c:v>-1.846088047084396E-2</c:v>
                      </c:pt>
                      <c:pt idx="87">
                        <c:v>-2.1422204261344564E-2</c:v>
                      </c:pt>
                      <c:pt idx="88">
                        <c:v>-1.9771518958294272E-2</c:v>
                      </c:pt>
                      <c:pt idx="89">
                        <c:v>-1.8773879011678728E-2</c:v>
                      </c:pt>
                      <c:pt idx="90">
                        <c:v>-1.7280886500059253E-2</c:v>
                      </c:pt>
                      <c:pt idx="91">
                        <c:v>-2.045501827967643E-2</c:v>
                      </c:pt>
                      <c:pt idx="92">
                        <c:v>-2.1003656076011394E-2</c:v>
                      </c:pt>
                      <c:pt idx="93">
                        <c:v>-1.7850249391960327E-2</c:v>
                      </c:pt>
                      <c:pt idx="94">
                        <c:v>-1.846088047084396E-2</c:v>
                      </c:pt>
                      <c:pt idx="95">
                        <c:v>-2.1422204261344564E-2</c:v>
                      </c:pt>
                      <c:pt idx="96">
                        <c:v>-1.9771518958294272E-2</c:v>
                      </c:pt>
                      <c:pt idx="97">
                        <c:v>-1.8773879011678728E-2</c:v>
                      </c:pt>
                      <c:pt idx="98">
                        <c:v>-1.7791059687648537E-2</c:v>
                      </c:pt>
                      <c:pt idx="99">
                        <c:v>-2.045501827967643E-2</c:v>
                      </c:pt>
                      <c:pt idx="100">
                        <c:v>-2.1003656076011394E-2</c:v>
                      </c:pt>
                      <c:pt idx="101">
                        <c:v>-1.7850249391960327E-2</c:v>
                      </c:pt>
                      <c:pt idx="102">
                        <c:v>-1.846088047084396E-2</c:v>
                      </c:pt>
                      <c:pt idx="103">
                        <c:v>-2.1422204261344564E-2</c:v>
                      </c:pt>
                      <c:pt idx="104">
                        <c:v>-1.9771518958294272E-2</c:v>
                      </c:pt>
                      <c:pt idx="105">
                        <c:v>-1.8773879011678728E-2</c:v>
                      </c:pt>
                      <c:pt idx="106">
                        <c:v>-1.7791059687648537E-2</c:v>
                      </c:pt>
                      <c:pt idx="107">
                        <c:v>-2.045501827967643E-2</c:v>
                      </c:pt>
                      <c:pt idx="108">
                        <c:v>-2.1003656076011394E-2</c:v>
                      </c:pt>
                      <c:pt idx="109">
                        <c:v>-1.0554282808187914E-2</c:v>
                      </c:pt>
                      <c:pt idx="110">
                        <c:v>-1.5129317715149842E-2</c:v>
                      </c:pt>
                      <c:pt idx="111">
                        <c:v>-1.4949026575699945E-2</c:v>
                      </c:pt>
                      <c:pt idx="112">
                        <c:v>-1.7402689713750304E-2</c:v>
                      </c:pt>
                      <c:pt idx="113">
                        <c:v>-1.7394768497277065E-2</c:v>
                      </c:pt>
                      <c:pt idx="114">
                        <c:v>9.0245751593460113E-2</c:v>
                      </c:pt>
                      <c:pt idx="115">
                        <c:v>0.10049848298141867</c:v>
                      </c:pt>
                      <c:pt idx="116">
                        <c:v>0.15977133997057583</c:v>
                      </c:pt>
                      <c:pt idx="117">
                        <c:v>6.6215250958771857E-2</c:v>
                      </c:pt>
                      <c:pt idx="118">
                        <c:v>7.3834333529568502E-2</c:v>
                      </c:pt>
                      <c:pt idx="119">
                        <c:v>0.1356645869402523</c:v>
                      </c:pt>
                      <c:pt idx="120">
                        <c:v>0.3001061241702499</c:v>
                      </c:pt>
                      <c:pt idx="121">
                        <c:v>0.25405821448287857</c:v>
                      </c:pt>
                      <c:pt idx="122">
                        <c:v>0.1260919989216821</c:v>
                      </c:pt>
                      <c:pt idx="123">
                        <c:v>0.15960597518642497</c:v>
                      </c:pt>
                      <c:pt idx="124">
                        <c:v>5.7161820441648616E-2</c:v>
                      </c:pt>
                      <c:pt idx="125">
                        <c:v>7.1104535010164421E-2</c:v>
                      </c:pt>
                      <c:pt idx="126">
                        <c:v>2.1116852496463289E-2</c:v>
                      </c:pt>
                      <c:pt idx="127">
                        <c:v>1.5944270840897497E-3</c:v>
                      </c:pt>
                      <c:pt idx="128">
                        <c:v>2.1633480848225656E-2</c:v>
                      </c:pt>
                      <c:pt idx="129">
                        <c:v>4.352744243964024E-2</c:v>
                      </c:pt>
                      <c:pt idx="130">
                        <c:v>4.3675381702473585E-2</c:v>
                      </c:pt>
                      <c:pt idx="131">
                        <c:v>4.3803240965839353E-2</c:v>
                      </c:pt>
                      <c:pt idx="132">
                        <c:v>9.3408548584091144E-2</c:v>
                      </c:pt>
                      <c:pt idx="133">
                        <c:v>4.4646289442434525E-2</c:v>
                      </c:pt>
                      <c:pt idx="134">
                        <c:v>8.1292522209357745E-2</c:v>
                      </c:pt>
                      <c:pt idx="135">
                        <c:v>0.10667091608296306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1086-4525-8B78-AE6AA3F6984C}"/>
                  </c:ext>
                </c:extLst>
              </c15:ser>
            </c15:filteredScatterSeries>
            <c15:filteredScatte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Κατακρήμνιση!$T$2</c15:sqref>
                        </c15:formulaRef>
                      </c:ext>
                    </c:extLst>
                    <c:strCache>
                      <c:ptCount val="1"/>
                      <c:pt idx="0">
                        <c:v>18ωρη πρόγνωση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Κατακρήμνιση!$M$3:$M$138</c15:sqref>
                        </c15:formulaRef>
                      </c:ext>
                    </c:extLst>
                    <c:numCache>
                      <c:formatCode>d/m/yy\ h:mm;@</c:formatCode>
                      <c:ptCount val="136"/>
                      <c:pt idx="0">
                        <c:v>38336</c:v>
                      </c:pt>
                      <c:pt idx="1">
                        <c:v>38336.125</c:v>
                      </c:pt>
                      <c:pt idx="2">
                        <c:v>38336.25</c:v>
                      </c:pt>
                      <c:pt idx="3">
                        <c:v>38336.375</c:v>
                      </c:pt>
                      <c:pt idx="4">
                        <c:v>38336.5</c:v>
                      </c:pt>
                      <c:pt idx="5">
                        <c:v>38336.625</c:v>
                      </c:pt>
                      <c:pt idx="6">
                        <c:v>38336.75</c:v>
                      </c:pt>
                      <c:pt idx="7">
                        <c:v>38336.875</c:v>
                      </c:pt>
                      <c:pt idx="8">
                        <c:v>38337</c:v>
                      </c:pt>
                      <c:pt idx="9">
                        <c:v>38337.125</c:v>
                      </c:pt>
                      <c:pt idx="10">
                        <c:v>38337.25</c:v>
                      </c:pt>
                      <c:pt idx="11">
                        <c:v>38337.375</c:v>
                      </c:pt>
                      <c:pt idx="12">
                        <c:v>38337.5</c:v>
                      </c:pt>
                      <c:pt idx="13">
                        <c:v>38337.625</c:v>
                      </c:pt>
                      <c:pt idx="14">
                        <c:v>38337.75</c:v>
                      </c:pt>
                      <c:pt idx="15">
                        <c:v>38337.875</c:v>
                      </c:pt>
                      <c:pt idx="16">
                        <c:v>38338</c:v>
                      </c:pt>
                      <c:pt idx="17">
                        <c:v>38338.125</c:v>
                      </c:pt>
                      <c:pt idx="18">
                        <c:v>38338.25</c:v>
                      </c:pt>
                      <c:pt idx="19">
                        <c:v>38338.375</c:v>
                      </c:pt>
                      <c:pt idx="20">
                        <c:v>38338.5</c:v>
                      </c:pt>
                      <c:pt idx="21">
                        <c:v>38338.625</c:v>
                      </c:pt>
                      <c:pt idx="22">
                        <c:v>38338.75</c:v>
                      </c:pt>
                      <c:pt idx="23">
                        <c:v>38338.875</c:v>
                      </c:pt>
                      <c:pt idx="24">
                        <c:v>38339</c:v>
                      </c:pt>
                      <c:pt idx="25">
                        <c:v>38339.125</c:v>
                      </c:pt>
                      <c:pt idx="26">
                        <c:v>38339.25</c:v>
                      </c:pt>
                      <c:pt idx="27">
                        <c:v>38339.375</c:v>
                      </c:pt>
                      <c:pt idx="28">
                        <c:v>38339.5</c:v>
                      </c:pt>
                      <c:pt idx="29">
                        <c:v>38339.625</c:v>
                      </c:pt>
                      <c:pt idx="30">
                        <c:v>38339.75</c:v>
                      </c:pt>
                      <c:pt idx="31">
                        <c:v>38339.875</c:v>
                      </c:pt>
                      <c:pt idx="32">
                        <c:v>38340</c:v>
                      </c:pt>
                      <c:pt idx="33">
                        <c:v>38340.125</c:v>
                      </c:pt>
                      <c:pt idx="34">
                        <c:v>38340.25</c:v>
                      </c:pt>
                      <c:pt idx="35">
                        <c:v>38340.375</c:v>
                      </c:pt>
                      <c:pt idx="36">
                        <c:v>38340.5</c:v>
                      </c:pt>
                      <c:pt idx="37">
                        <c:v>38340.625</c:v>
                      </c:pt>
                      <c:pt idx="38">
                        <c:v>38340.75</c:v>
                      </c:pt>
                      <c:pt idx="39">
                        <c:v>38340.875</c:v>
                      </c:pt>
                      <c:pt idx="40">
                        <c:v>38341</c:v>
                      </c:pt>
                      <c:pt idx="41">
                        <c:v>38341.125</c:v>
                      </c:pt>
                      <c:pt idx="42">
                        <c:v>38341.25</c:v>
                      </c:pt>
                      <c:pt idx="43">
                        <c:v>38341.375</c:v>
                      </c:pt>
                      <c:pt idx="44">
                        <c:v>38341.5</c:v>
                      </c:pt>
                      <c:pt idx="45">
                        <c:v>38341.625</c:v>
                      </c:pt>
                      <c:pt idx="46">
                        <c:v>38341.75</c:v>
                      </c:pt>
                      <c:pt idx="47">
                        <c:v>38341.875</c:v>
                      </c:pt>
                      <c:pt idx="48">
                        <c:v>38342</c:v>
                      </c:pt>
                      <c:pt idx="49">
                        <c:v>38342.125</c:v>
                      </c:pt>
                      <c:pt idx="50">
                        <c:v>38342.25</c:v>
                      </c:pt>
                      <c:pt idx="51">
                        <c:v>38342.375</c:v>
                      </c:pt>
                      <c:pt idx="52">
                        <c:v>38342.5</c:v>
                      </c:pt>
                      <c:pt idx="53">
                        <c:v>38342.625</c:v>
                      </c:pt>
                      <c:pt idx="54">
                        <c:v>38342.75</c:v>
                      </c:pt>
                      <c:pt idx="55">
                        <c:v>38342.875</c:v>
                      </c:pt>
                      <c:pt idx="56">
                        <c:v>38343</c:v>
                      </c:pt>
                      <c:pt idx="57">
                        <c:v>38343.125</c:v>
                      </c:pt>
                      <c:pt idx="58">
                        <c:v>38343.25</c:v>
                      </c:pt>
                      <c:pt idx="59">
                        <c:v>38343.375</c:v>
                      </c:pt>
                      <c:pt idx="60">
                        <c:v>38343.5</c:v>
                      </c:pt>
                      <c:pt idx="61">
                        <c:v>38343.625</c:v>
                      </c:pt>
                      <c:pt idx="62">
                        <c:v>38343.75</c:v>
                      </c:pt>
                      <c:pt idx="63">
                        <c:v>38343.875</c:v>
                      </c:pt>
                      <c:pt idx="64">
                        <c:v>38344</c:v>
                      </c:pt>
                      <c:pt idx="65">
                        <c:v>38344.125</c:v>
                      </c:pt>
                      <c:pt idx="66">
                        <c:v>38344.25</c:v>
                      </c:pt>
                      <c:pt idx="67">
                        <c:v>38344.375</c:v>
                      </c:pt>
                      <c:pt idx="68">
                        <c:v>38344.5</c:v>
                      </c:pt>
                      <c:pt idx="69">
                        <c:v>38344.625</c:v>
                      </c:pt>
                      <c:pt idx="70">
                        <c:v>38344.75</c:v>
                      </c:pt>
                      <c:pt idx="71">
                        <c:v>38344.875</c:v>
                      </c:pt>
                      <c:pt idx="72">
                        <c:v>38345</c:v>
                      </c:pt>
                      <c:pt idx="73">
                        <c:v>38345.125</c:v>
                      </c:pt>
                      <c:pt idx="74">
                        <c:v>38345.25</c:v>
                      </c:pt>
                      <c:pt idx="75">
                        <c:v>38345.375</c:v>
                      </c:pt>
                      <c:pt idx="76">
                        <c:v>38345.5</c:v>
                      </c:pt>
                      <c:pt idx="77">
                        <c:v>38345.625</c:v>
                      </c:pt>
                      <c:pt idx="78">
                        <c:v>38345.75</c:v>
                      </c:pt>
                      <c:pt idx="79">
                        <c:v>38345.875</c:v>
                      </c:pt>
                      <c:pt idx="80">
                        <c:v>38346</c:v>
                      </c:pt>
                      <c:pt idx="81">
                        <c:v>38346.125</c:v>
                      </c:pt>
                      <c:pt idx="82">
                        <c:v>38346.25</c:v>
                      </c:pt>
                      <c:pt idx="83">
                        <c:v>38346.375</c:v>
                      </c:pt>
                      <c:pt idx="84">
                        <c:v>38346.5</c:v>
                      </c:pt>
                      <c:pt idx="85">
                        <c:v>38346.625</c:v>
                      </c:pt>
                      <c:pt idx="86">
                        <c:v>38346.75</c:v>
                      </c:pt>
                      <c:pt idx="87">
                        <c:v>38346.875</c:v>
                      </c:pt>
                      <c:pt idx="88">
                        <c:v>38347</c:v>
                      </c:pt>
                      <c:pt idx="89">
                        <c:v>38347.125</c:v>
                      </c:pt>
                      <c:pt idx="90">
                        <c:v>38347.25</c:v>
                      </c:pt>
                      <c:pt idx="91">
                        <c:v>38347.375</c:v>
                      </c:pt>
                      <c:pt idx="92">
                        <c:v>38347.5</c:v>
                      </c:pt>
                      <c:pt idx="93">
                        <c:v>38347.625</c:v>
                      </c:pt>
                      <c:pt idx="94">
                        <c:v>38347.75</c:v>
                      </c:pt>
                      <c:pt idx="95">
                        <c:v>38347.875</c:v>
                      </c:pt>
                      <c:pt idx="96">
                        <c:v>38348</c:v>
                      </c:pt>
                      <c:pt idx="97">
                        <c:v>38348.125</c:v>
                      </c:pt>
                      <c:pt idx="98">
                        <c:v>38348.25</c:v>
                      </c:pt>
                      <c:pt idx="99">
                        <c:v>38348.375</c:v>
                      </c:pt>
                      <c:pt idx="100">
                        <c:v>38348.5</c:v>
                      </c:pt>
                      <c:pt idx="101">
                        <c:v>38348.625</c:v>
                      </c:pt>
                      <c:pt idx="102">
                        <c:v>38348.75</c:v>
                      </c:pt>
                      <c:pt idx="103">
                        <c:v>38348.875</c:v>
                      </c:pt>
                      <c:pt idx="104">
                        <c:v>38349</c:v>
                      </c:pt>
                      <c:pt idx="105">
                        <c:v>38349.125</c:v>
                      </c:pt>
                      <c:pt idx="106">
                        <c:v>38349.25</c:v>
                      </c:pt>
                      <c:pt idx="107">
                        <c:v>38349.375</c:v>
                      </c:pt>
                      <c:pt idx="108">
                        <c:v>38349.5</c:v>
                      </c:pt>
                      <c:pt idx="109">
                        <c:v>38349.625</c:v>
                      </c:pt>
                      <c:pt idx="110">
                        <c:v>38349.75</c:v>
                      </c:pt>
                      <c:pt idx="111">
                        <c:v>38349.875</c:v>
                      </c:pt>
                      <c:pt idx="112">
                        <c:v>38350</c:v>
                      </c:pt>
                      <c:pt idx="113">
                        <c:v>38350.125</c:v>
                      </c:pt>
                      <c:pt idx="114">
                        <c:v>38350.25</c:v>
                      </c:pt>
                      <c:pt idx="115">
                        <c:v>38350.375</c:v>
                      </c:pt>
                      <c:pt idx="116">
                        <c:v>38350.5</c:v>
                      </c:pt>
                      <c:pt idx="117">
                        <c:v>38350.625</c:v>
                      </c:pt>
                      <c:pt idx="118">
                        <c:v>38350.75</c:v>
                      </c:pt>
                      <c:pt idx="119">
                        <c:v>38350.875</c:v>
                      </c:pt>
                      <c:pt idx="120">
                        <c:v>38351</c:v>
                      </c:pt>
                      <c:pt idx="121">
                        <c:v>38351.125</c:v>
                      </c:pt>
                      <c:pt idx="122">
                        <c:v>38351.25</c:v>
                      </c:pt>
                      <c:pt idx="123">
                        <c:v>38351.375</c:v>
                      </c:pt>
                      <c:pt idx="124">
                        <c:v>38351.5</c:v>
                      </c:pt>
                      <c:pt idx="125">
                        <c:v>38351.625</c:v>
                      </c:pt>
                      <c:pt idx="126">
                        <c:v>38351.75</c:v>
                      </c:pt>
                      <c:pt idx="127">
                        <c:v>38351.875</c:v>
                      </c:pt>
                      <c:pt idx="128">
                        <c:v>38352</c:v>
                      </c:pt>
                      <c:pt idx="129">
                        <c:v>38352.125</c:v>
                      </c:pt>
                      <c:pt idx="130">
                        <c:v>38352.25</c:v>
                      </c:pt>
                      <c:pt idx="131">
                        <c:v>38352.375</c:v>
                      </c:pt>
                      <c:pt idx="132">
                        <c:v>38352.5</c:v>
                      </c:pt>
                      <c:pt idx="133">
                        <c:v>38352.625</c:v>
                      </c:pt>
                      <c:pt idx="134">
                        <c:v>38352.75</c:v>
                      </c:pt>
                      <c:pt idx="135">
                        <c:v>38352.87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Κατακρήμνιση!$T$3:$T$138</c15:sqref>
                        </c15:formulaRef>
                      </c:ext>
                    </c:extLst>
                    <c:numCache>
                      <c:formatCode>General</c:formatCode>
                      <c:ptCount val="136"/>
                      <c:pt idx="0">
                        <c:v>-1.2425620582657755E-2</c:v>
                      </c:pt>
                      <c:pt idx="1">
                        <c:v>-8.1278216550469112E-3</c:v>
                      </c:pt>
                      <c:pt idx="2">
                        <c:v>-7.5471058243400104E-3</c:v>
                      </c:pt>
                      <c:pt idx="3">
                        <c:v>-8.0994726812716588E-3</c:v>
                      </c:pt>
                      <c:pt idx="4">
                        <c:v>-1.1301340260271818E-2</c:v>
                      </c:pt>
                      <c:pt idx="5">
                        <c:v>-9.8413503096917068E-3</c:v>
                      </c:pt>
                      <c:pt idx="6">
                        <c:v>-6.499318464010936E-3</c:v>
                      </c:pt>
                      <c:pt idx="7">
                        <c:v>-8.5927114716730264E-3</c:v>
                      </c:pt>
                      <c:pt idx="8">
                        <c:v>-1.2425620582657755E-2</c:v>
                      </c:pt>
                      <c:pt idx="9">
                        <c:v>-8.1278216550469112E-3</c:v>
                      </c:pt>
                      <c:pt idx="10">
                        <c:v>-7.5471058243400104E-3</c:v>
                      </c:pt>
                      <c:pt idx="11">
                        <c:v>-8.0994726812716588E-3</c:v>
                      </c:pt>
                      <c:pt idx="12">
                        <c:v>-1.1301340260271818E-2</c:v>
                      </c:pt>
                      <c:pt idx="13">
                        <c:v>-9.8413503096917068E-3</c:v>
                      </c:pt>
                      <c:pt idx="14">
                        <c:v>-6.499318464010936E-3</c:v>
                      </c:pt>
                      <c:pt idx="15">
                        <c:v>-8.5927114716730264E-3</c:v>
                      </c:pt>
                      <c:pt idx="16">
                        <c:v>-1.2425620582657755E-2</c:v>
                      </c:pt>
                      <c:pt idx="17">
                        <c:v>-8.1278216550469112E-3</c:v>
                      </c:pt>
                      <c:pt idx="18">
                        <c:v>-7.5471058243400104E-3</c:v>
                      </c:pt>
                      <c:pt idx="19">
                        <c:v>-8.0994726812716588E-3</c:v>
                      </c:pt>
                      <c:pt idx="20">
                        <c:v>-1.1301340260271818E-2</c:v>
                      </c:pt>
                      <c:pt idx="21">
                        <c:v>-9.8413503096917068E-3</c:v>
                      </c:pt>
                      <c:pt idx="22">
                        <c:v>-6.499318464010936E-3</c:v>
                      </c:pt>
                      <c:pt idx="23">
                        <c:v>-8.5927114716730264E-3</c:v>
                      </c:pt>
                      <c:pt idx="24">
                        <c:v>-1.2425620582657755E-2</c:v>
                      </c:pt>
                      <c:pt idx="25">
                        <c:v>-8.1278216550469112E-3</c:v>
                      </c:pt>
                      <c:pt idx="26">
                        <c:v>-7.5471058243400104E-3</c:v>
                      </c:pt>
                      <c:pt idx="27">
                        <c:v>-8.0994726812716588E-3</c:v>
                      </c:pt>
                      <c:pt idx="28">
                        <c:v>-1.1301340260271818E-2</c:v>
                      </c:pt>
                      <c:pt idx="29">
                        <c:v>-9.8413503096917068E-3</c:v>
                      </c:pt>
                      <c:pt idx="30">
                        <c:v>1.3933448701246274E-2</c:v>
                      </c:pt>
                      <c:pt idx="31">
                        <c:v>0.27639795025831582</c:v>
                      </c:pt>
                      <c:pt idx="32">
                        <c:v>9.4868787469979857E-2</c:v>
                      </c:pt>
                      <c:pt idx="33">
                        <c:v>2.1190536517857256E-2</c:v>
                      </c:pt>
                      <c:pt idx="34">
                        <c:v>5.3055308067745159E-2</c:v>
                      </c:pt>
                      <c:pt idx="35">
                        <c:v>5.3653533896748214E-2</c:v>
                      </c:pt>
                      <c:pt idx="36">
                        <c:v>0.15935917499251914</c:v>
                      </c:pt>
                      <c:pt idx="37">
                        <c:v>0.27237669089526001</c:v>
                      </c:pt>
                      <c:pt idx="38">
                        <c:v>4.7136695344789238E-2</c:v>
                      </c:pt>
                      <c:pt idx="39">
                        <c:v>-8.5927114716730264E-3</c:v>
                      </c:pt>
                      <c:pt idx="40">
                        <c:v>8.4003530958320347E-2</c:v>
                      </c:pt>
                      <c:pt idx="41">
                        <c:v>-8.1278216550469112E-3</c:v>
                      </c:pt>
                      <c:pt idx="42">
                        <c:v>-5.0220052455031286E-3</c:v>
                      </c:pt>
                      <c:pt idx="43">
                        <c:v>5.3653533896748214E-2</c:v>
                      </c:pt>
                      <c:pt idx="44">
                        <c:v>1.3649027466744401E-2</c:v>
                      </c:pt>
                      <c:pt idx="45">
                        <c:v>-9.8413503096917068E-3</c:v>
                      </c:pt>
                      <c:pt idx="46">
                        <c:v>-6.499318464010936E-3</c:v>
                      </c:pt>
                      <c:pt idx="47">
                        <c:v>-8.5927114716730264E-3</c:v>
                      </c:pt>
                      <c:pt idx="48">
                        <c:v>-1.2425620582657755E-2</c:v>
                      </c:pt>
                      <c:pt idx="49">
                        <c:v>-8.1278216550469112E-3</c:v>
                      </c:pt>
                      <c:pt idx="50">
                        <c:v>-7.5471058243400104E-3</c:v>
                      </c:pt>
                      <c:pt idx="51">
                        <c:v>-8.0994726812716588E-3</c:v>
                      </c:pt>
                      <c:pt idx="52">
                        <c:v>-1.1301340260271818E-2</c:v>
                      </c:pt>
                      <c:pt idx="53">
                        <c:v>-9.8413503096917068E-3</c:v>
                      </c:pt>
                      <c:pt idx="54">
                        <c:v>-6.499318464010936E-3</c:v>
                      </c:pt>
                      <c:pt idx="55">
                        <c:v>-8.5927114716730264E-3</c:v>
                      </c:pt>
                      <c:pt idx="56">
                        <c:v>-1.2425620582657755E-2</c:v>
                      </c:pt>
                      <c:pt idx="57">
                        <c:v>-8.1278216550469112E-3</c:v>
                      </c:pt>
                      <c:pt idx="58">
                        <c:v>-7.5471058243400104E-3</c:v>
                      </c:pt>
                      <c:pt idx="59">
                        <c:v>-5.1588533204135704E-3</c:v>
                      </c:pt>
                      <c:pt idx="60">
                        <c:v>-1.0303325551191168E-2</c:v>
                      </c:pt>
                      <c:pt idx="61">
                        <c:v>-9.8413503096917068E-3</c:v>
                      </c:pt>
                      <c:pt idx="62">
                        <c:v>-6.499318464010936E-3</c:v>
                      </c:pt>
                      <c:pt idx="63">
                        <c:v>-8.5927114716730264E-3</c:v>
                      </c:pt>
                      <c:pt idx="64">
                        <c:v>-1.2425620582657755E-2</c:v>
                      </c:pt>
                      <c:pt idx="65">
                        <c:v>-8.1278216550469112E-3</c:v>
                      </c:pt>
                      <c:pt idx="66">
                        <c:v>-7.5471058243400104E-3</c:v>
                      </c:pt>
                      <c:pt idx="67">
                        <c:v>-8.0994726812716588E-3</c:v>
                      </c:pt>
                      <c:pt idx="68">
                        <c:v>-1.1301340260271818E-2</c:v>
                      </c:pt>
                      <c:pt idx="69">
                        <c:v>-9.8413503096917068E-3</c:v>
                      </c:pt>
                      <c:pt idx="70">
                        <c:v>-6.499318464010936E-3</c:v>
                      </c:pt>
                      <c:pt idx="71">
                        <c:v>-8.5927114716730264E-3</c:v>
                      </c:pt>
                      <c:pt idx="72">
                        <c:v>-4.2766781989131263E-3</c:v>
                      </c:pt>
                      <c:pt idx="73">
                        <c:v>-8.1278216550469112E-3</c:v>
                      </c:pt>
                      <c:pt idx="74">
                        <c:v>-7.5471058243400104E-3</c:v>
                      </c:pt>
                      <c:pt idx="75">
                        <c:v>-8.0994726812716588E-3</c:v>
                      </c:pt>
                      <c:pt idx="76">
                        <c:v>-1.1301340260271818E-2</c:v>
                      </c:pt>
                      <c:pt idx="77">
                        <c:v>-9.8413503096917068E-3</c:v>
                      </c:pt>
                      <c:pt idx="78">
                        <c:v>-6.499318464010936E-3</c:v>
                      </c:pt>
                      <c:pt idx="79">
                        <c:v>-8.5927114716730264E-3</c:v>
                      </c:pt>
                      <c:pt idx="80">
                        <c:v>-1.2425620582657755E-2</c:v>
                      </c:pt>
                      <c:pt idx="81">
                        <c:v>-8.1278216550469112E-3</c:v>
                      </c:pt>
                      <c:pt idx="82">
                        <c:v>-7.5471058243400104E-3</c:v>
                      </c:pt>
                      <c:pt idx="83">
                        <c:v>-8.0994726812716588E-3</c:v>
                      </c:pt>
                      <c:pt idx="84">
                        <c:v>-1.1301340260271818E-2</c:v>
                      </c:pt>
                      <c:pt idx="85">
                        <c:v>-9.8413503096917068E-3</c:v>
                      </c:pt>
                      <c:pt idx="86">
                        <c:v>-6.499318464010936E-3</c:v>
                      </c:pt>
                      <c:pt idx="87">
                        <c:v>-8.5927114716730264E-3</c:v>
                      </c:pt>
                      <c:pt idx="88">
                        <c:v>-1.2425620582657755E-2</c:v>
                      </c:pt>
                      <c:pt idx="89">
                        <c:v>-8.1278216550469112E-3</c:v>
                      </c:pt>
                      <c:pt idx="90">
                        <c:v>-7.5471058243400104E-3</c:v>
                      </c:pt>
                      <c:pt idx="91">
                        <c:v>-8.0994726812716588E-3</c:v>
                      </c:pt>
                      <c:pt idx="92">
                        <c:v>-1.1301340260271818E-2</c:v>
                      </c:pt>
                      <c:pt idx="93">
                        <c:v>-9.8413503096917068E-3</c:v>
                      </c:pt>
                      <c:pt idx="94">
                        <c:v>-6.499318464010936E-3</c:v>
                      </c:pt>
                      <c:pt idx="95">
                        <c:v>-8.5927114716730264E-3</c:v>
                      </c:pt>
                      <c:pt idx="96">
                        <c:v>-1.2425620582657755E-2</c:v>
                      </c:pt>
                      <c:pt idx="97">
                        <c:v>-8.1278216550469112E-3</c:v>
                      </c:pt>
                      <c:pt idx="98">
                        <c:v>-7.5471058243400104E-3</c:v>
                      </c:pt>
                      <c:pt idx="99">
                        <c:v>-8.0994726812716588E-3</c:v>
                      </c:pt>
                      <c:pt idx="100">
                        <c:v>-1.1301340260271818E-2</c:v>
                      </c:pt>
                      <c:pt idx="101">
                        <c:v>-9.8413503096917068E-3</c:v>
                      </c:pt>
                      <c:pt idx="102">
                        <c:v>-6.499318464010936E-3</c:v>
                      </c:pt>
                      <c:pt idx="103">
                        <c:v>-8.5927114716730264E-3</c:v>
                      </c:pt>
                      <c:pt idx="104">
                        <c:v>-1.2425620582657755E-2</c:v>
                      </c:pt>
                      <c:pt idx="105">
                        <c:v>-8.1278216550469112E-3</c:v>
                      </c:pt>
                      <c:pt idx="106">
                        <c:v>-7.5471058243400104E-3</c:v>
                      </c:pt>
                      <c:pt idx="107">
                        <c:v>-8.0994726812716588E-3</c:v>
                      </c:pt>
                      <c:pt idx="108">
                        <c:v>-1.1301340260271818E-2</c:v>
                      </c:pt>
                      <c:pt idx="109">
                        <c:v>-9.8413503096917068E-3</c:v>
                      </c:pt>
                      <c:pt idx="110">
                        <c:v>1.1629692229605162E-3</c:v>
                      </c:pt>
                      <c:pt idx="111">
                        <c:v>-8.5927114716730264E-3</c:v>
                      </c:pt>
                      <c:pt idx="112">
                        <c:v>-8.3511493907854409E-3</c:v>
                      </c:pt>
                      <c:pt idx="113">
                        <c:v>-8.1278216550469112E-3</c:v>
                      </c:pt>
                      <c:pt idx="114">
                        <c:v>-7.5471058243400104E-3</c:v>
                      </c:pt>
                      <c:pt idx="115">
                        <c:v>0.10364406303133573</c:v>
                      </c:pt>
                      <c:pt idx="116">
                        <c:v>6.4547777629857472E-2</c:v>
                      </c:pt>
                      <c:pt idx="117">
                        <c:v>0.10424679400720367</c:v>
                      </c:pt>
                      <c:pt idx="118">
                        <c:v>-6.499318464010936E-3</c:v>
                      </c:pt>
                      <c:pt idx="119">
                        <c:v>4.116756279864249E-2</c:v>
                      </c:pt>
                      <c:pt idx="120">
                        <c:v>0.10030141572580963</c:v>
                      </c:pt>
                      <c:pt idx="121">
                        <c:v>0.24270702049091097</c:v>
                      </c:pt>
                      <c:pt idx="122">
                        <c:v>8.8406716171461508E-2</c:v>
                      </c:pt>
                      <c:pt idx="123">
                        <c:v>-8.0994726812716588E-3</c:v>
                      </c:pt>
                      <c:pt idx="124">
                        <c:v>0.10347035128400278</c:v>
                      </c:pt>
                      <c:pt idx="125">
                        <c:v>-9.8413503096917068E-3</c:v>
                      </c:pt>
                      <c:pt idx="126">
                        <c:v>-6.499318464010936E-3</c:v>
                      </c:pt>
                      <c:pt idx="127">
                        <c:v>-8.5927114716730264E-3</c:v>
                      </c:pt>
                      <c:pt idx="128">
                        <c:v>-1.2425620582657755E-2</c:v>
                      </c:pt>
                      <c:pt idx="129">
                        <c:v>4.9025597551327193E-3</c:v>
                      </c:pt>
                      <c:pt idx="130">
                        <c:v>4.8005106910071399E-2</c:v>
                      </c:pt>
                      <c:pt idx="131">
                        <c:v>1.5425482205593054E-2</c:v>
                      </c:pt>
                      <c:pt idx="132">
                        <c:v>2.462718926663154E-2</c:v>
                      </c:pt>
                      <c:pt idx="133">
                        <c:v>8.0228237308909905E-2</c:v>
                      </c:pt>
                      <c:pt idx="134">
                        <c:v>-6.499318464010936E-3</c:v>
                      </c:pt>
                      <c:pt idx="135">
                        <c:v>4.5691224095943894E-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1086-4525-8B78-AE6AA3F6984C}"/>
                  </c:ext>
                </c:extLst>
              </c15:ser>
            </c15:filteredScatterSeries>
            <c15:filteredScatte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Κατακρήμνιση!$U$2</c15:sqref>
                        </c15:formulaRef>
                      </c:ext>
                    </c:extLst>
                    <c:strCache>
                      <c:ptCount val="1"/>
                      <c:pt idx="0">
                        <c:v>21ωρη πρόγνωση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Κατακρήμνιση!$M$3:$M$138</c15:sqref>
                        </c15:formulaRef>
                      </c:ext>
                    </c:extLst>
                    <c:numCache>
                      <c:formatCode>d/m/yy\ h:mm;@</c:formatCode>
                      <c:ptCount val="136"/>
                      <c:pt idx="0">
                        <c:v>38336</c:v>
                      </c:pt>
                      <c:pt idx="1">
                        <c:v>38336.125</c:v>
                      </c:pt>
                      <c:pt idx="2">
                        <c:v>38336.25</c:v>
                      </c:pt>
                      <c:pt idx="3">
                        <c:v>38336.375</c:v>
                      </c:pt>
                      <c:pt idx="4">
                        <c:v>38336.5</c:v>
                      </c:pt>
                      <c:pt idx="5">
                        <c:v>38336.625</c:v>
                      </c:pt>
                      <c:pt idx="6">
                        <c:v>38336.75</c:v>
                      </c:pt>
                      <c:pt idx="7">
                        <c:v>38336.875</c:v>
                      </c:pt>
                      <c:pt idx="8">
                        <c:v>38337</c:v>
                      </c:pt>
                      <c:pt idx="9">
                        <c:v>38337.125</c:v>
                      </c:pt>
                      <c:pt idx="10">
                        <c:v>38337.25</c:v>
                      </c:pt>
                      <c:pt idx="11">
                        <c:v>38337.375</c:v>
                      </c:pt>
                      <c:pt idx="12">
                        <c:v>38337.5</c:v>
                      </c:pt>
                      <c:pt idx="13">
                        <c:v>38337.625</c:v>
                      </c:pt>
                      <c:pt idx="14">
                        <c:v>38337.75</c:v>
                      </c:pt>
                      <c:pt idx="15">
                        <c:v>38337.875</c:v>
                      </c:pt>
                      <c:pt idx="16">
                        <c:v>38338</c:v>
                      </c:pt>
                      <c:pt idx="17">
                        <c:v>38338.125</c:v>
                      </c:pt>
                      <c:pt idx="18">
                        <c:v>38338.25</c:v>
                      </c:pt>
                      <c:pt idx="19">
                        <c:v>38338.375</c:v>
                      </c:pt>
                      <c:pt idx="20">
                        <c:v>38338.5</c:v>
                      </c:pt>
                      <c:pt idx="21">
                        <c:v>38338.625</c:v>
                      </c:pt>
                      <c:pt idx="22">
                        <c:v>38338.75</c:v>
                      </c:pt>
                      <c:pt idx="23">
                        <c:v>38338.875</c:v>
                      </c:pt>
                      <c:pt idx="24">
                        <c:v>38339</c:v>
                      </c:pt>
                      <c:pt idx="25">
                        <c:v>38339.125</c:v>
                      </c:pt>
                      <c:pt idx="26">
                        <c:v>38339.25</c:v>
                      </c:pt>
                      <c:pt idx="27">
                        <c:v>38339.375</c:v>
                      </c:pt>
                      <c:pt idx="28">
                        <c:v>38339.5</c:v>
                      </c:pt>
                      <c:pt idx="29">
                        <c:v>38339.625</c:v>
                      </c:pt>
                      <c:pt idx="30">
                        <c:v>38339.75</c:v>
                      </c:pt>
                      <c:pt idx="31">
                        <c:v>38339.875</c:v>
                      </c:pt>
                      <c:pt idx="32">
                        <c:v>38340</c:v>
                      </c:pt>
                      <c:pt idx="33">
                        <c:v>38340.125</c:v>
                      </c:pt>
                      <c:pt idx="34">
                        <c:v>38340.25</c:v>
                      </c:pt>
                      <c:pt idx="35">
                        <c:v>38340.375</c:v>
                      </c:pt>
                      <c:pt idx="36">
                        <c:v>38340.5</c:v>
                      </c:pt>
                      <c:pt idx="37">
                        <c:v>38340.625</c:v>
                      </c:pt>
                      <c:pt idx="38">
                        <c:v>38340.75</c:v>
                      </c:pt>
                      <c:pt idx="39">
                        <c:v>38340.875</c:v>
                      </c:pt>
                      <c:pt idx="40">
                        <c:v>38341</c:v>
                      </c:pt>
                      <c:pt idx="41">
                        <c:v>38341.125</c:v>
                      </c:pt>
                      <c:pt idx="42">
                        <c:v>38341.25</c:v>
                      </c:pt>
                      <c:pt idx="43">
                        <c:v>38341.375</c:v>
                      </c:pt>
                      <c:pt idx="44">
                        <c:v>38341.5</c:v>
                      </c:pt>
                      <c:pt idx="45">
                        <c:v>38341.625</c:v>
                      </c:pt>
                      <c:pt idx="46">
                        <c:v>38341.75</c:v>
                      </c:pt>
                      <c:pt idx="47">
                        <c:v>38341.875</c:v>
                      </c:pt>
                      <c:pt idx="48">
                        <c:v>38342</c:v>
                      </c:pt>
                      <c:pt idx="49">
                        <c:v>38342.125</c:v>
                      </c:pt>
                      <c:pt idx="50">
                        <c:v>38342.25</c:v>
                      </c:pt>
                      <c:pt idx="51">
                        <c:v>38342.375</c:v>
                      </c:pt>
                      <c:pt idx="52">
                        <c:v>38342.5</c:v>
                      </c:pt>
                      <c:pt idx="53">
                        <c:v>38342.625</c:v>
                      </c:pt>
                      <c:pt idx="54">
                        <c:v>38342.75</c:v>
                      </c:pt>
                      <c:pt idx="55">
                        <c:v>38342.875</c:v>
                      </c:pt>
                      <c:pt idx="56">
                        <c:v>38343</c:v>
                      </c:pt>
                      <c:pt idx="57">
                        <c:v>38343.125</c:v>
                      </c:pt>
                      <c:pt idx="58">
                        <c:v>38343.25</c:v>
                      </c:pt>
                      <c:pt idx="59">
                        <c:v>38343.375</c:v>
                      </c:pt>
                      <c:pt idx="60">
                        <c:v>38343.5</c:v>
                      </c:pt>
                      <c:pt idx="61">
                        <c:v>38343.625</c:v>
                      </c:pt>
                      <c:pt idx="62">
                        <c:v>38343.75</c:v>
                      </c:pt>
                      <c:pt idx="63">
                        <c:v>38343.875</c:v>
                      </c:pt>
                      <c:pt idx="64">
                        <c:v>38344</c:v>
                      </c:pt>
                      <c:pt idx="65">
                        <c:v>38344.125</c:v>
                      </c:pt>
                      <c:pt idx="66">
                        <c:v>38344.25</c:v>
                      </c:pt>
                      <c:pt idx="67">
                        <c:v>38344.375</c:v>
                      </c:pt>
                      <c:pt idx="68">
                        <c:v>38344.5</c:v>
                      </c:pt>
                      <c:pt idx="69">
                        <c:v>38344.625</c:v>
                      </c:pt>
                      <c:pt idx="70">
                        <c:v>38344.75</c:v>
                      </c:pt>
                      <c:pt idx="71">
                        <c:v>38344.875</c:v>
                      </c:pt>
                      <c:pt idx="72">
                        <c:v>38345</c:v>
                      </c:pt>
                      <c:pt idx="73">
                        <c:v>38345.125</c:v>
                      </c:pt>
                      <c:pt idx="74">
                        <c:v>38345.25</c:v>
                      </c:pt>
                      <c:pt idx="75">
                        <c:v>38345.375</c:v>
                      </c:pt>
                      <c:pt idx="76">
                        <c:v>38345.5</c:v>
                      </c:pt>
                      <c:pt idx="77">
                        <c:v>38345.625</c:v>
                      </c:pt>
                      <c:pt idx="78">
                        <c:v>38345.75</c:v>
                      </c:pt>
                      <c:pt idx="79">
                        <c:v>38345.875</c:v>
                      </c:pt>
                      <c:pt idx="80">
                        <c:v>38346</c:v>
                      </c:pt>
                      <c:pt idx="81">
                        <c:v>38346.125</c:v>
                      </c:pt>
                      <c:pt idx="82">
                        <c:v>38346.25</c:v>
                      </c:pt>
                      <c:pt idx="83">
                        <c:v>38346.375</c:v>
                      </c:pt>
                      <c:pt idx="84">
                        <c:v>38346.5</c:v>
                      </c:pt>
                      <c:pt idx="85">
                        <c:v>38346.625</c:v>
                      </c:pt>
                      <c:pt idx="86">
                        <c:v>38346.75</c:v>
                      </c:pt>
                      <c:pt idx="87">
                        <c:v>38346.875</c:v>
                      </c:pt>
                      <c:pt idx="88">
                        <c:v>38347</c:v>
                      </c:pt>
                      <c:pt idx="89">
                        <c:v>38347.125</c:v>
                      </c:pt>
                      <c:pt idx="90">
                        <c:v>38347.25</c:v>
                      </c:pt>
                      <c:pt idx="91">
                        <c:v>38347.375</c:v>
                      </c:pt>
                      <c:pt idx="92">
                        <c:v>38347.5</c:v>
                      </c:pt>
                      <c:pt idx="93">
                        <c:v>38347.625</c:v>
                      </c:pt>
                      <c:pt idx="94">
                        <c:v>38347.75</c:v>
                      </c:pt>
                      <c:pt idx="95">
                        <c:v>38347.875</c:v>
                      </c:pt>
                      <c:pt idx="96">
                        <c:v>38348</c:v>
                      </c:pt>
                      <c:pt idx="97">
                        <c:v>38348.125</c:v>
                      </c:pt>
                      <c:pt idx="98">
                        <c:v>38348.25</c:v>
                      </c:pt>
                      <c:pt idx="99">
                        <c:v>38348.375</c:v>
                      </c:pt>
                      <c:pt idx="100">
                        <c:v>38348.5</c:v>
                      </c:pt>
                      <c:pt idx="101">
                        <c:v>38348.625</c:v>
                      </c:pt>
                      <c:pt idx="102">
                        <c:v>38348.75</c:v>
                      </c:pt>
                      <c:pt idx="103">
                        <c:v>38348.875</c:v>
                      </c:pt>
                      <c:pt idx="104">
                        <c:v>38349</c:v>
                      </c:pt>
                      <c:pt idx="105">
                        <c:v>38349.125</c:v>
                      </c:pt>
                      <c:pt idx="106">
                        <c:v>38349.25</c:v>
                      </c:pt>
                      <c:pt idx="107">
                        <c:v>38349.375</c:v>
                      </c:pt>
                      <c:pt idx="108">
                        <c:v>38349.5</c:v>
                      </c:pt>
                      <c:pt idx="109">
                        <c:v>38349.625</c:v>
                      </c:pt>
                      <c:pt idx="110">
                        <c:v>38349.75</c:v>
                      </c:pt>
                      <c:pt idx="111">
                        <c:v>38349.875</c:v>
                      </c:pt>
                      <c:pt idx="112">
                        <c:v>38350</c:v>
                      </c:pt>
                      <c:pt idx="113">
                        <c:v>38350.125</c:v>
                      </c:pt>
                      <c:pt idx="114">
                        <c:v>38350.25</c:v>
                      </c:pt>
                      <c:pt idx="115">
                        <c:v>38350.375</c:v>
                      </c:pt>
                      <c:pt idx="116">
                        <c:v>38350.5</c:v>
                      </c:pt>
                      <c:pt idx="117">
                        <c:v>38350.625</c:v>
                      </c:pt>
                      <c:pt idx="118">
                        <c:v>38350.75</c:v>
                      </c:pt>
                      <c:pt idx="119">
                        <c:v>38350.875</c:v>
                      </c:pt>
                      <c:pt idx="120">
                        <c:v>38351</c:v>
                      </c:pt>
                      <c:pt idx="121">
                        <c:v>38351.125</c:v>
                      </c:pt>
                      <c:pt idx="122">
                        <c:v>38351.25</c:v>
                      </c:pt>
                      <c:pt idx="123">
                        <c:v>38351.375</c:v>
                      </c:pt>
                      <c:pt idx="124">
                        <c:v>38351.5</c:v>
                      </c:pt>
                      <c:pt idx="125">
                        <c:v>38351.625</c:v>
                      </c:pt>
                      <c:pt idx="126">
                        <c:v>38351.75</c:v>
                      </c:pt>
                      <c:pt idx="127">
                        <c:v>38351.875</c:v>
                      </c:pt>
                      <c:pt idx="128">
                        <c:v>38352</c:v>
                      </c:pt>
                      <c:pt idx="129">
                        <c:v>38352.125</c:v>
                      </c:pt>
                      <c:pt idx="130">
                        <c:v>38352.25</c:v>
                      </c:pt>
                      <c:pt idx="131">
                        <c:v>38352.375</c:v>
                      </c:pt>
                      <c:pt idx="132">
                        <c:v>38352.5</c:v>
                      </c:pt>
                      <c:pt idx="133">
                        <c:v>38352.625</c:v>
                      </c:pt>
                      <c:pt idx="134">
                        <c:v>38352.75</c:v>
                      </c:pt>
                      <c:pt idx="135">
                        <c:v>38352.875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Κατακρήμνιση!$U$3:$U$138</c15:sqref>
                        </c15:formulaRef>
                      </c:ext>
                    </c:extLst>
                    <c:numCache>
                      <c:formatCode>General</c:formatCode>
                      <c:ptCount val="136"/>
                      <c:pt idx="0">
                        <c:v>-1.2501747972292549E-2</c:v>
                      </c:pt>
                      <c:pt idx="1">
                        <c:v>-1.5138423780082975E-2</c:v>
                      </c:pt>
                      <c:pt idx="2">
                        <c:v>-1.3138453864190986E-2</c:v>
                      </c:pt>
                      <c:pt idx="3">
                        <c:v>-1.1577123419319851E-2</c:v>
                      </c:pt>
                      <c:pt idx="4">
                        <c:v>-1.2337711753099941E-2</c:v>
                      </c:pt>
                      <c:pt idx="5">
                        <c:v>-1.4275429532152824E-2</c:v>
                      </c:pt>
                      <c:pt idx="6">
                        <c:v>-1.4094678421772934E-2</c:v>
                      </c:pt>
                      <c:pt idx="7">
                        <c:v>-1.1183307203136022E-2</c:v>
                      </c:pt>
                      <c:pt idx="8">
                        <c:v>-1.2501747972292549E-2</c:v>
                      </c:pt>
                      <c:pt idx="9">
                        <c:v>-1.5138423780082975E-2</c:v>
                      </c:pt>
                      <c:pt idx="10">
                        <c:v>-1.3138453864190986E-2</c:v>
                      </c:pt>
                      <c:pt idx="11">
                        <c:v>-1.1577123419319851E-2</c:v>
                      </c:pt>
                      <c:pt idx="12">
                        <c:v>-1.2337711753099941E-2</c:v>
                      </c:pt>
                      <c:pt idx="13">
                        <c:v>-1.4275429532152824E-2</c:v>
                      </c:pt>
                      <c:pt idx="14">
                        <c:v>-1.4094678421772934E-2</c:v>
                      </c:pt>
                      <c:pt idx="15">
                        <c:v>-1.1183307203136022E-2</c:v>
                      </c:pt>
                      <c:pt idx="16">
                        <c:v>-1.2501747972292549E-2</c:v>
                      </c:pt>
                      <c:pt idx="17">
                        <c:v>-1.5138423780082975E-2</c:v>
                      </c:pt>
                      <c:pt idx="18">
                        <c:v>-1.3138453864190986E-2</c:v>
                      </c:pt>
                      <c:pt idx="19">
                        <c:v>-1.1577123419319851E-2</c:v>
                      </c:pt>
                      <c:pt idx="20">
                        <c:v>-1.2337711753099941E-2</c:v>
                      </c:pt>
                      <c:pt idx="21">
                        <c:v>-1.4275429532152824E-2</c:v>
                      </c:pt>
                      <c:pt idx="22">
                        <c:v>-1.4094678421772934E-2</c:v>
                      </c:pt>
                      <c:pt idx="23">
                        <c:v>-1.1183307203136022E-2</c:v>
                      </c:pt>
                      <c:pt idx="24">
                        <c:v>-1.2501747972292549E-2</c:v>
                      </c:pt>
                      <c:pt idx="25">
                        <c:v>-1.5138423780082975E-2</c:v>
                      </c:pt>
                      <c:pt idx="26">
                        <c:v>-1.3138453864190986E-2</c:v>
                      </c:pt>
                      <c:pt idx="27">
                        <c:v>-1.1577123419319851E-2</c:v>
                      </c:pt>
                      <c:pt idx="28">
                        <c:v>-1.2337711753099941E-2</c:v>
                      </c:pt>
                      <c:pt idx="29">
                        <c:v>-1.4275429532152824E-2</c:v>
                      </c:pt>
                      <c:pt idx="30">
                        <c:v>-1.4094678421772934E-2</c:v>
                      </c:pt>
                      <c:pt idx="31">
                        <c:v>3.3751060794145454E-3</c:v>
                      </c:pt>
                      <c:pt idx="32">
                        <c:v>0.19583785900309239</c:v>
                      </c:pt>
                      <c:pt idx="33">
                        <c:v>0.13528206626498476</c:v>
                      </c:pt>
                      <c:pt idx="34">
                        <c:v>4.224530405271959E-2</c:v>
                      </c:pt>
                      <c:pt idx="35">
                        <c:v>7.879117223646151E-2</c:v>
                      </c:pt>
                      <c:pt idx="36">
                        <c:v>6.6918076138160032E-2</c:v>
                      </c:pt>
                      <c:pt idx="37">
                        <c:v>0.16061627119652791</c:v>
                      </c:pt>
                      <c:pt idx="38">
                        <c:v>0.25243091486452574</c:v>
                      </c:pt>
                      <c:pt idx="39">
                        <c:v>0.11759557425805889</c:v>
                      </c:pt>
                      <c:pt idx="40">
                        <c:v>3.6533936198956833E-2</c:v>
                      </c:pt>
                      <c:pt idx="41">
                        <c:v>0.10060661358102156</c:v>
                      </c:pt>
                      <c:pt idx="42">
                        <c:v>4.1121515605644733E-2</c:v>
                      </c:pt>
                      <c:pt idx="43">
                        <c:v>2.4039767764744063E-2</c:v>
                      </c:pt>
                      <c:pt idx="44">
                        <c:v>5.2971716805778918E-2</c:v>
                      </c:pt>
                      <c:pt idx="45">
                        <c:v>2.3523184635920062E-2</c:v>
                      </c:pt>
                      <c:pt idx="46">
                        <c:v>4.8455442755131715E-3</c:v>
                      </c:pt>
                      <c:pt idx="47">
                        <c:v>-2.5942481041780797E-3</c:v>
                      </c:pt>
                      <c:pt idx="48">
                        <c:v>-6.0532649640390335E-3</c:v>
                      </c:pt>
                      <c:pt idx="49">
                        <c:v>8.8172828109669941E-3</c:v>
                      </c:pt>
                      <c:pt idx="50">
                        <c:v>-3.9900425002261358E-3</c:v>
                      </c:pt>
                      <c:pt idx="51">
                        <c:v>-9.1563109869257035E-3</c:v>
                      </c:pt>
                      <c:pt idx="52">
                        <c:v>-8.4714025533958268E-3</c:v>
                      </c:pt>
                      <c:pt idx="53">
                        <c:v>-1.0617352123971052E-2</c:v>
                      </c:pt>
                      <c:pt idx="54">
                        <c:v>-1.3166868530885651E-3</c:v>
                      </c:pt>
                      <c:pt idx="55">
                        <c:v>4.2754499123102065E-2</c:v>
                      </c:pt>
                      <c:pt idx="56">
                        <c:v>4.6882296994439051E-3</c:v>
                      </c:pt>
                      <c:pt idx="57">
                        <c:v>-1.1309424674299903E-2</c:v>
                      </c:pt>
                      <c:pt idx="58">
                        <c:v>4.8846227215762657E-4</c:v>
                      </c:pt>
                      <c:pt idx="59">
                        <c:v>-3.5121354151422522E-3</c:v>
                      </c:pt>
                      <c:pt idx="60">
                        <c:v>1.2195457723380427E-2</c:v>
                      </c:pt>
                      <c:pt idx="61">
                        <c:v>2.7711908317826453E-2</c:v>
                      </c:pt>
                      <c:pt idx="62">
                        <c:v>-5.3121021957011991E-3</c:v>
                      </c:pt>
                      <c:pt idx="63">
                        <c:v>-1.0778110693891832E-2</c:v>
                      </c:pt>
                      <c:pt idx="64">
                        <c:v>2.5193287471830198E-4</c:v>
                      </c:pt>
                      <c:pt idx="65">
                        <c:v>-1.4803344418279832E-2</c:v>
                      </c:pt>
                      <c:pt idx="66">
                        <c:v>-1.2698089265844242E-2</c:v>
                      </c:pt>
                      <c:pt idx="67">
                        <c:v>-3.4795604657203581E-3</c:v>
                      </c:pt>
                      <c:pt idx="68">
                        <c:v>-9.0681198180871045E-3</c:v>
                      </c:pt>
                      <c:pt idx="69">
                        <c:v>-1.4275429532152824E-2</c:v>
                      </c:pt>
                      <c:pt idx="70">
                        <c:v>-1.4094678421772934E-2</c:v>
                      </c:pt>
                      <c:pt idx="71">
                        <c:v>-1.1183307203136022E-2</c:v>
                      </c:pt>
                      <c:pt idx="72">
                        <c:v>-1.2501747972292549E-2</c:v>
                      </c:pt>
                      <c:pt idx="73">
                        <c:v>-9.332275739597844E-3</c:v>
                      </c:pt>
                      <c:pt idx="74">
                        <c:v>-1.103156932006151E-2</c:v>
                      </c:pt>
                      <c:pt idx="75">
                        <c:v>-1.1461707372005393E-2</c:v>
                      </c:pt>
                      <c:pt idx="76">
                        <c:v>-1.1254016210093084E-2</c:v>
                      </c:pt>
                      <c:pt idx="77">
                        <c:v>-1.4025746531268934E-2</c:v>
                      </c:pt>
                      <c:pt idx="78">
                        <c:v>-1.3132618586387701E-2</c:v>
                      </c:pt>
                      <c:pt idx="79">
                        <c:v>-1.1183307203136022E-2</c:v>
                      </c:pt>
                      <c:pt idx="80">
                        <c:v>-1.241147740224674E-2</c:v>
                      </c:pt>
                      <c:pt idx="81">
                        <c:v>-1.5138423780082975E-2</c:v>
                      </c:pt>
                      <c:pt idx="82">
                        <c:v>-1.3138453864190986E-2</c:v>
                      </c:pt>
                      <c:pt idx="83">
                        <c:v>-1.1193076371501869E-2</c:v>
                      </c:pt>
                      <c:pt idx="84">
                        <c:v>-1.2207370299254144E-2</c:v>
                      </c:pt>
                      <c:pt idx="85">
                        <c:v>-1.4275429532152824E-2</c:v>
                      </c:pt>
                      <c:pt idx="86">
                        <c:v>-1.4094678421772934E-2</c:v>
                      </c:pt>
                      <c:pt idx="87">
                        <c:v>-1.1183307203136022E-2</c:v>
                      </c:pt>
                      <c:pt idx="88">
                        <c:v>-1.2501747972292549E-2</c:v>
                      </c:pt>
                      <c:pt idx="89">
                        <c:v>-1.5138423780082975E-2</c:v>
                      </c:pt>
                      <c:pt idx="90">
                        <c:v>-1.2655733043191132E-2</c:v>
                      </c:pt>
                      <c:pt idx="91">
                        <c:v>-1.1577123419319851E-2</c:v>
                      </c:pt>
                      <c:pt idx="92">
                        <c:v>-1.2337711753099941E-2</c:v>
                      </c:pt>
                      <c:pt idx="93">
                        <c:v>-1.4275429532152824E-2</c:v>
                      </c:pt>
                      <c:pt idx="94">
                        <c:v>-1.4094678421772934E-2</c:v>
                      </c:pt>
                      <c:pt idx="95">
                        <c:v>-1.1183307203136022E-2</c:v>
                      </c:pt>
                      <c:pt idx="96">
                        <c:v>-1.143749011322618E-2</c:v>
                      </c:pt>
                      <c:pt idx="97">
                        <c:v>-1.5138423780082975E-2</c:v>
                      </c:pt>
                      <c:pt idx="98">
                        <c:v>-1.3138453864190986E-2</c:v>
                      </c:pt>
                      <c:pt idx="99">
                        <c:v>-1.1577123419319851E-2</c:v>
                      </c:pt>
                      <c:pt idx="100">
                        <c:v>-1.2337711753099941E-2</c:v>
                      </c:pt>
                      <c:pt idx="101">
                        <c:v>-1.4275429532152824E-2</c:v>
                      </c:pt>
                      <c:pt idx="102">
                        <c:v>-1.4094678421772934E-2</c:v>
                      </c:pt>
                      <c:pt idx="103">
                        <c:v>-1.1183307203136022E-2</c:v>
                      </c:pt>
                      <c:pt idx="104">
                        <c:v>-1.2501747972292549E-2</c:v>
                      </c:pt>
                      <c:pt idx="105">
                        <c:v>-1.5138423780082975E-2</c:v>
                      </c:pt>
                      <c:pt idx="106">
                        <c:v>-1.3138453864190986E-2</c:v>
                      </c:pt>
                      <c:pt idx="107">
                        <c:v>-1.1577123419319851E-2</c:v>
                      </c:pt>
                      <c:pt idx="108">
                        <c:v>-1.2337711753099941E-2</c:v>
                      </c:pt>
                      <c:pt idx="109">
                        <c:v>-1.4275429532152824E-2</c:v>
                      </c:pt>
                      <c:pt idx="110">
                        <c:v>-1.4094678421772934E-2</c:v>
                      </c:pt>
                      <c:pt idx="111">
                        <c:v>-5.7239022221795607E-3</c:v>
                      </c:pt>
                      <c:pt idx="112">
                        <c:v>-1.0520686536325518E-2</c:v>
                      </c:pt>
                      <c:pt idx="113">
                        <c:v>-1.2126826356854945E-2</c:v>
                      </c:pt>
                      <c:pt idx="114">
                        <c:v>-1.1066034328012668E-2</c:v>
                      </c:pt>
                      <c:pt idx="115">
                        <c:v>-1.1448434749194675E-2</c:v>
                      </c:pt>
                      <c:pt idx="116">
                        <c:v>6.8670786490811778E-2</c:v>
                      </c:pt>
                      <c:pt idx="117">
                        <c:v>6.8696013971539752E-2</c:v>
                      </c:pt>
                      <c:pt idx="118">
                        <c:v>8.8923066744495669E-2</c:v>
                      </c:pt>
                      <c:pt idx="119">
                        <c:v>3.4248444242172646E-2</c:v>
                      </c:pt>
                      <c:pt idx="120">
                        <c:v>3.5735636545445669E-2</c:v>
                      </c:pt>
                      <c:pt idx="121">
                        <c:v>0.10630179180407127</c:v>
                      </c:pt>
                      <c:pt idx="122">
                        <c:v>0.20489349772126644</c:v>
                      </c:pt>
                      <c:pt idx="123">
                        <c:v>0.14373623004903019</c:v>
                      </c:pt>
                      <c:pt idx="124">
                        <c:v>3.2315821016260536E-2</c:v>
                      </c:pt>
                      <c:pt idx="125">
                        <c:v>0.11003808044183024</c:v>
                      </c:pt>
                      <c:pt idx="126">
                        <c:v>4.3154031191909352E-2</c:v>
                      </c:pt>
                      <c:pt idx="127">
                        <c:v>1.9675996652409933E-2</c:v>
                      </c:pt>
                      <c:pt idx="128">
                        <c:v>1.509604363319763E-2</c:v>
                      </c:pt>
                      <c:pt idx="129">
                        <c:v>-1.129657726660796E-2</c:v>
                      </c:pt>
                      <c:pt idx="130">
                        <c:v>1.0167262052613094E-2</c:v>
                      </c:pt>
                      <c:pt idx="131">
                        <c:v>3.1372975357658289E-2</c:v>
                      </c:pt>
                      <c:pt idx="132">
                        <c:v>2.0242699023762047E-2</c:v>
                      </c:pt>
                      <c:pt idx="133">
                        <c:v>2.6545111817858263E-2</c:v>
                      </c:pt>
                      <c:pt idx="134">
                        <c:v>7.2704771035942958E-2</c:v>
                      </c:pt>
                      <c:pt idx="135">
                        <c:v>2.4457979229032638E-2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1086-4525-8B78-AE6AA3F6984C}"/>
                  </c:ext>
                </c:extLst>
              </c15:ser>
            </c15:filteredScatterSeries>
          </c:ext>
        </c:extLst>
      </c:scatterChart>
      <c:valAx>
        <c:axId val="173187840"/>
        <c:scaling>
          <c:orientation val="minMax"/>
          <c:max val="38353"/>
          <c:min val="38338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/d/yyyy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73189376"/>
        <c:crosses val="autoZero"/>
        <c:crossBetween val="midCat"/>
      </c:valAx>
      <c:valAx>
        <c:axId val="173189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ΤΥΠΟΠΟΙΗΜΕΝΕΣ ΤΙΜΕΣ ΚΑΤΑΚΡΗΜΝΙΣΗΣ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7318784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5057908550904813"/>
          <c:w val="1"/>
          <c:h val="3.77865509193622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0070C0"/>
      </a:solidFill>
      <a:round/>
    </a:ln>
    <a:effectLst/>
  </c:spPr>
  <c:txPr>
    <a:bodyPr/>
    <a:lstStyle/>
    <a:p>
      <a:pPr>
        <a:defRPr sz="900"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7044363357019728E-2"/>
          <c:y val="1.5124326564442602E-2"/>
          <c:w val="0.87958165290314438"/>
          <c:h val="0.82287792973246665"/>
        </c:manualLayout>
      </c:layout>
      <c:scatterChart>
        <c:scatterStyle val="lineMarker"/>
        <c:varyColors val="0"/>
        <c:ser>
          <c:idx val="0"/>
          <c:order val="0"/>
          <c:tx>
            <c:strRef>
              <c:f>wind!$Q$2</c:f>
              <c:strCache>
                <c:ptCount val="1"/>
                <c:pt idx="0">
                  <c:v>Β1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xVal>
            <c:numRef>
              <c:f>wind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wind!$R$2:$Y$2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F11-4F88-81EF-9E6DFE3C8497}"/>
            </c:ext>
          </c:extLst>
        </c:ser>
        <c:ser>
          <c:idx val="1"/>
          <c:order val="1"/>
          <c:tx>
            <c:strRef>
              <c:f>wind!$Q$3</c:f>
              <c:strCache>
                <c:ptCount val="1"/>
                <c:pt idx="0">
                  <c:v>Β2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xVal>
            <c:numRef>
              <c:f>wind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wind!$R$3:$Y$3</c:f>
              <c:numCache>
                <c:formatCode>General</c:formatCode>
                <c:ptCount val="8"/>
                <c:pt idx="0">
                  <c:v>0.34976636883390338</c:v>
                </c:pt>
                <c:pt idx="1">
                  <c:v>8.3704834319685548E-2</c:v>
                </c:pt>
                <c:pt idx="2">
                  <c:v>-7.623488372984856E-2</c:v>
                </c:pt>
                <c:pt idx="3">
                  <c:v>-0.18975112751437939</c:v>
                </c:pt>
                <c:pt idx="4">
                  <c:v>-0.28299214101995335</c:v>
                </c:pt>
                <c:pt idx="5">
                  <c:v>-0.35048501234449625</c:v>
                </c:pt>
                <c:pt idx="6">
                  <c:v>-0.39027890020856953</c:v>
                </c:pt>
                <c:pt idx="7">
                  <c:v>-0.438540806804432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F11-4F88-81EF-9E6DFE3C8497}"/>
            </c:ext>
          </c:extLst>
        </c:ser>
        <c:ser>
          <c:idx val="2"/>
          <c:order val="2"/>
          <c:tx>
            <c:strRef>
              <c:f>wind!$Q$4</c:f>
              <c:strCache>
                <c:ptCount val="1"/>
                <c:pt idx="0">
                  <c:v>ΣΜ1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xVal>
            <c:numRef>
              <c:f>wind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wind!$R$4:$Y$4</c:f>
              <c:numCache>
                <c:formatCode>General</c:formatCode>
                <c:ptCount val="8"/>
                <c:pt idx="0">
                  <c:v>0.45546853660662434</c:v>
                </c:pt>
                <c:pt idx="1">
                  <c:v>0.29362432409072081</c:v>
                </c:pt>
                <c:pt idx="2">
                  <c:v>0.21335682581288995</c:v>
                </c:pt>
                <c:pt idx="3">
                  <c:v>0.16415103207839954</c:v>
                </c:pt>
                <c:pt idx="4">
                  <c:v>0.12855702491608967</c:v>
                </c:pt>
                <c:pt idx="5">
                  <c:v>0.10549094478960985</c:v>
                </c:pt>
                <c:pt idx="6">
                  <c:v>9.2985060707850065E-2</c:v>
                </c:pt>
                <c:pt idx="7">
                  <c:v>7.8848645661804259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2F11-4F88-81EF-9E6DFE3C8497}"/>
            </c:ext>
          </c:extLst>
        </c:ser>
        <c:ser>
          <c:idx val="3"/>
          <c:order val="3"/>
          <c:tx>
            <c:strRef>
              <c:f>wind!$Q$5</c:f>
              <c:strCache>
                <c:ptCount val="1"/>
                <c:pt idx="0">
                  <c:v>ΣΜ10</c:v>
                </c:pt>
              </c:strCache>
            </c:strRef>
          </c:tx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x"/>
            <c:size val="6"/>
            <c:spPr>
              <a:noFill/>
              <a:ln w="9525">
                <a:solidFill>
                  <a:schemeClr val="accent4"/>
                </a:solidFill>
                <a:round/>
              </a:ln>
              <a:effectLst/>
            </c:spPr>
          </c:marker>
          <c:xVal>
            <c:numRef>
              <c:f>wind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wind!$R$5:$Y$5</c:f>
              <c:numCache>
                <c:formatCode>General</c:formatCode>
                <c:ptCount val="8"/>
                <c:pt idx="0">
                  <c:v>0.47781889857319232</c:v>
                </c:pt>
                <c:pt idx="1">
                  <c:v>0.32391062402207427</c:v>
                </c:pt>
                <c:pt idx="2">
                  <c:v>0.24322337289848495</c:v>
                </c:pt>
                <c:pt idx="3">
                  <c:v>0.19092259221820868</c:v>
                </c:pt>
                <c:pt idx="4">
                  <c:v>0.15278903604513647</c:v>
                </c:pt>
                <c:pt idx="5">
                  <c:v>0.12547756876404267</c:v>
                </c:pt>
                <c:pt idx="6">
                  <c:v>0.10476575347215422</c:v>
                </c:pt>
                <c:pt idx="7">
                  <c:v>8.32699837465707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2F11-4F88-81EF-9E6DFE3C8497}"/>
            </c:ext>
          </c:extLst>
        </c:ser>
        <c:ser>
          <c:idx val="4"/>
          <c:order val="4"/>
          <c:tx>
            <c:strRef>
              <c:f>wind!$Q$6</c:f>
              <c:strCache>
                <c:ptCount val="1"/>
                <c:pt idx="0">
                  <c:v>ΣΜ24</c:v>
                </c:pt>
              </c:strCache>
            </c:strRef>
          </c:tx>
          <c:spPr>
            <a:ln w="22225" cap="rnd">
              <a:solidFill>
                <a:schemeClr val="accent5"/>
              </a:solidFill>
              <a:round/>
            </a:ln>
            <a:effectLst/>
          </c:spPr>
          <c:marker>
            <c:symbol val="star"/>
            <c:size val="6"/>
            <c:spPr>
              <a:noFill/>
              <a:ln w="9525">
                <a:solidFill>
                  <a:schemeClr val="accent5"/>
                </a:solidFill>
                <a:round/>
              </a:ln>
              <a:effectLst/>
            </c:spPr>
          </c:marker>
          <c:xVal>
            <c:numRef>
              <c:f>wind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wind!$R$6:$Y$6</c:f>
              <c:numCache>
                <c:formatCode>General</c:formatCode>
                <c:ptCount val="8"/>
                <c:pt idx="0">
                  <c:v>0.47756468362113058</c:v>
                </c:pt>
                <c:pt idx="1">
                  <c:v>0.32371099967027273</c:v>
                </c:pt>
                <c:pt idx="2">
                  <c:v>0.24307665205823581</c:v>
                </c:pt>
                <c:pt idx="3">
                  <c:v>0.1908520326697617</c:v>
                </c:pt>
                <c:pt idx="4">
                  <c:v>0.15281756371054811</c:v>
                </c:pt>
                <c:pt idx="5">
                  <c:v>0.12559453066860468</c:v>
                </c:pt>
                <c:pt idx="6">
                  <c:v>0.10498290642417142</c:v>
                </c:pt>
                <c:pt idx="7">
                  <c:v>8.3617835911946298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2F11-4F88-81EF-9E6DFE3C8497}"/>
            </c:ext>
          </c:extLst>
        </c:ser>
        <c:ser>
          <c:idx val="5"/>
          <c:order val="5"/>
          <c:tx>
            <c:strRef>
              <c:f>wind!$Q$7</c:f>
              <c:strCache>
                <c:ptCount val="1"/>
                <c:pt idx="0">
                  <c:v>ΑΜ</c:v>
                </c:pt>
              </c:strCache>
            </c:strRef>
          </c:tx>
          <c:spPr>
            <a:ln w="2222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</a:ln>
              <a:effectLst/>
            </c:spPr>
          </c:marker>
          <c:xVal>
            <c:numRef>
              <c:f>wind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wind!$R$7:$Y$7</c:f>
              <c:numCache>
                <c:formatCode>General</c:formatCode>
                <c:ptCount val="8"/>
                <c:pt idx="0">
                  <c:v>0.50102392483012459</c:v>
                </c:pt>
                <c:pt idx="1">
                  <c:v>0.42777755492693426</c:v>
                </c:pt>
                <c:pt idx="2">
                  <c:v>0.36701027458878388</c:v>
                </c:pt>
                <c:pt idx="3">
                  <c:v>0.24884420428671694</c:v>
                </c:pt>
                <c:pt idx="4">
                  <c:v>0.18326108798953489</c:v>
                </c:pt>
                <c:pt idx="5">
                  <c:v>0.1419840040985039</c:v>
                </c:pt>
                <c:pt idx="6">
                  <c:v>0.11972872126267518</c:v>
                </c:pt>
                <c:pt idx="7">
                  <c:v>0.100508114839386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2F11-4F88-81EF-9E6DFE3C8497}"/>
            </c:ext>
          </c:extLst>
        </c:ser>
        <c:ser>
          <c:idx val="6"/>
          <c:order val="6"/>
          <c:tx>
            <c:strRef>
              <c:f>wind!$Q$8</c:f>
              <c:strCache>
                <c:ptCount val="1"/>
                <c:pt idx="0">
                  <c:v>ΜΠ</c:v>
                </c:pt>
              </c:strCache>
            </c:strRef>
          </c:tx>
          <c:spPr>
            <a:ln w="222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plus"/>
            <c:size val="6"/>
            <c:spPr>
              <a:noFill/>
              <a:ln w="9525">
                <a:solidFill>
                  <a:schemeClr val="accent1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wind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wind!$R$8:$Y$8</c:f>
              <c:numCache>
                <c:formatCode>0.000</c:formatCode>
                <c:ptCount val="8"/>
                <c:pt idx="0">
                  <c:v>0.23925564805176094</c:v>
                </c:pt>
                <c:pt idx="1">
                  <c:v>0.25438692944912461</c:v>
                </c:pt>
                <c:pt idx="2">
                  <c:v>0.35653340104981157</c:v>
                </c:pt>
                <c:pt idx="3">
                  <c:v>0.3196120557925433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2F11-4F88-81EF-9E6DFE3C8497}"/>
            </c:ext>
          </c:extLst>
        </c:ser>
        <c:ser>
          <c:idx val="7"/>
          <c:order val="7"/>
          <c:tx>
            <c:strRef>
              <c:f>wind!$Q$9</c:f>
              <c:strCache>
                <c:ptCount val="1"/>
                <c:pt idx="0">
                  <c:v>ΣΠΜ1</c:v>
                </c:pt>
              </c:strCache>
            </c:strRef>
          </c:tx>
          <c:spPr>
            <a:ln w="222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dot"/>
            <c:size val="6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wind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wind!$R$9:$Y$9</c:f>
              <c:numCache>
                <c:formatCode>0.000</c:formatCode>
                <c:ptCount val="8"/>
                <c:pt idx="0">
                  <c:v>0.51118041720426821</c:v>
                </c:pt>
                <c:pt idx="1">
                  <c:v>0.43718113553247506</c:v>
                </c:pt>
                <c:pt idx="2">
                  <c:v>0.47347649977172601</c:v>
                </c:pt>
                <c:pt idx="3">
                  <c:v>0.4437164240762127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2F11-4F88-81EF-9E6DFE3C8497}"/>
            </c:ext>
          </c:extLst>
        </c:ser>
        <c:ser>
          <c:idx val="8"/>
          <c:order val="8"/>
          <c:tx>
            <c:strRef>
              <c:f>wind!$Q$10</c:f>
              <c:strCache>
                <c:ptCount val="1"/>
                <c:pt idx="0">
                  <c:v>ΣΠΜ10</c:v>
                </c:pt>
              </c:strCache>
            </c:strRef>
          </c:tx>
          <c:spPr>
            <a:ln w="222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dash"/>
            <c:size val="6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wind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wind!$R$10:$Y$10</c:f>
              <c:numCache>
                <c:formatCode>0.000</c:formatCode>
                <c:ptCount val="8"/>
                <c:pt idx="0">
                  <c:v>0.51332307613728434</c:v>
                </c:pt>
                <c:pt idx="1">
                  <c:v>0.44115937652643583</c:v>
                </c:pt>
                <c:pt idx="2">
                  <c:v>0.47662474146066885</c:v>
                </c:pt>
                <c:pt idx="3">
                  <c:v>0.4468185134843901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2F11-4F88-81EF-9E6DFE3C8497}"/>
            </c:ext>
          </c:extLst>
        </c:ser>
        <c:ser>
          <c:idx val="9"/>
          <c:order val="9"/>
          <c:tx>
            <c:strRef>
              <c:f>wind!$Q$11</c:f>
              <c:strCache>
                <c:ptCount val="1"/>
                <c:pt idx="0">
                  <c:v>ΣΠΜ24</c:v>
                </c:pt>
              </c:strCache>
            </c:strRef>
          </c:tx>
          <c:spPr>
            <a:ln w="222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wind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wind!$R$11:$Y$11</c:f>
              <c:numCache>
                <c:formatCode>0.000</c:formatCode>
                <c:ptCount val="8"/>
                <c:pt idx="0">
                  <c:v>0.51320375328568824</c:v>
                </c:pt>
                <c:pt idx="1">
                  <c:v>0.44094772399240501</c:v>
                </c:pt>
                <c:pt idx="2">
                  <c:v>0.47678681861802485</c:v>
                </c:pt>
                <c:pt idx="3">
                  <c:v>0.4467841334986838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2F11-4F88-81EF-9E6DFE3C8497}"/>
            </c:ext>
          </c:extLst>
        </c:ser>
        <c:ser>
          <c:idx val="10"/>
          <c:order val="10"/>
          <c:tx>
            <c:strRef>
              <c:f>wind!$Q$12</c:f>
              <c:strCache>
                <c:ptCount val="1"/>
                <c:pt idx="0">
                  <c:v>ΣΠΑΜ</c:v>
                </c:pt>
              </c:strCache>
            </c:strRef>
          </c:tx>
          <c:spPr>
            <a:ln w="222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wind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wind!$R$12:$Y$12</c:f>
              <c:numCache>
                <c:formatCode>0.000</c:formatCode>
                <c:ptCount val="8"/>
                <c:pt idx="0">
                  <c:v>0.54900343990339162</c:v>
                </c:pt>
                <c:pt idx="1">
                  <c:v>0.535541240639958</c:v>
                </c:pt>
                <c:pt idx="2">
                  <c:v>0.54793674567088468</c:v>
                </c:pt>
                <c:pt idx="3">
                  <c:v>0.435317264687088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2F11-4F88-81EF-9E6DFE3C84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5928832"/>
        <c:axId val="155955584"/>
      </c:scatterChart>
      <c:valAx>
        <c:axId val="155928832"/>
        <c:scaling>
          <c:orientation val="minMax"/>
          <c:max val="2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χρονικο βαθος προγνωσης</a:t>
                </a:r>
                <a:endParaRPr lang="el-G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55955584"/>
        <c:crosses val="autoZero"/>
        <c:crossBetween val="midCat"/>
        <c:majorUnit val="4"/>
      </c:valAx>
      <c:valAx>
        <c:axId val="15595558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συντελεστης αποδοσησ </a:t>
                </a:r>
                <a:r>
                  <a:rPr lang="en-US" sz="900" b="0" i="0" cap="all" baseline="0">
                    <a:effectLst/>
                  </a:rPr>
                  <a:t>nash-sutcliffe</a:t>
                </a:r>
                <a:endParaRPr lang="el-GR" sz="200">
                  <a:effectLst/>
                </a:endParaRPr>
              </a:p>
            </c:rich>
          </c:tx>
          <c:layout>
            <c:manualLayout>
              <c:xMode val="edge"/>
              <c:yMode val="edge"/>
              <c:x val="8.587376556462023E-3"/>
              <c:y val="0.22820250984251969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5592883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rgbClr val="00B050"/>
      </a:solidFill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2">
    <c:autoUpdate val="0"/>
  </c:externalData>
  <c:userShapes r:id="rId3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5995480313972"/>
          <c:y val="5.0925925925925923E-2"/>
          <c:w val="0.83723377892252382"/>
          <c:h val="0.81233012540099159"/>
        </c:manualLayout>
      </c:layout>
      <c:scatterChart>
        <c:scatterStyle val="lineMarker"/>
        <c:varyColors val="0"/>
        <c:ser>
          <c:idx val="0"/>
          <c:order val="0"/>
          <c:tx>
            <c:strRef>
              <c:f>'temp-Attiki'!$Q$2</c:f>
              <c:strCache>
                <c:ptCount val="1"/>
                <c:pt idx="0">
                  <c:v>Β1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xVal>
            <c:numRef>
              <c:f>'temp-Attiki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Attiki'!$R$2:$Y$2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FE6-4BCD-9C7D-4899FF09BFAF}"/>
            </c:ext>
          </c:extLst>
        </c:ser>
        <c:ser>
          <c:idx val="1"/>
          <c:order val="1"/>
          <c:tx>
            <c:strRef>
              <c:f>'temp-Attiki'!$Q$3</c:f>
              <c:strCache>
                <c:ptCount val="1"/>
                <c:pt idx="0">
                  <c:v>Β2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xVal>
            <c:numRef>
              <c:f>'temp-Attiki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Attiki'!$R$3:$Y$3</c:f>
              <c:numCache>
                <c:formatCode>General</c:formatCode>
                <c:ptCount val="8"/>
                <c:pt idx="0">
                  <c:v>0.60720560430506065</c:v>
                </c:pt>
                <c:pt idx="1">
                  <c:v>0.35964363658408777</c:v>
                </c:pt>
                <c:pt idx="2">
                  <c:v>0.16975223882875573</c:v>
                </c:pt>
                <c:pt idx="3">
                  <c:v>6.8290628113528734E-2</c:v>
                </c:pt>
                <c:pt idx="4">
                  <c:v>5.0534514403966183E-2</c:v>
                </c:pt>
                <c:pt idx="5">
                  <c:v>7.1537847976319568E-2</c:v>
                </c:pt>
                <c:pt idx="6">
                  <c:v>0.11155876807283917</c:v>
                </c:pt>
                <c:pt idx="7">
                  <c:v>0.1301018847987483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FE6-4BCD-9C7D-4899FF09BFAF}"/>
            </c:ext>
          </c:extLst>
        </c:ser>
        <c:ser>
          <c:idx val="2"/>
          <c:order val="2"/>
          <c:tx>
            <c:strRef>
              <c:f>'temp-Attiki'!$Q$4</c:f>
              <c:strCache>
                <c:ptCount val="1"/>
                <c:pt idx="0">
                  <c:v>ΣΜ1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xVal>
            <c:numRef>
              <c:f>'temp-Attiki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Attiki'!$R$4:$Y$4</c:f>
              <c:numCache>
                <c:formatCode>General</c:formatCode>
                <c:ptCount val="8"/>
                <c:pt idx="0">
                  <c:v>0.64574910881601855</c:v>
                </c:pt>
                <c:pt idx="1">
                  <c:v>0.46207501027834597</c:v>
                </c:pt>
                <c:pt idx="2">
                  <c:v>0.34192611238564802</c:v>
                </c:pt>
                <c:pt idx="3">
                  <c:v>0.28508939820744</c:v>
                </c:pt>
                <c:pt idx="4">
                  <c:v>0.27565434586855431</c:v>
                </c:pt>
                <c:pt idx="5">
                  <c:v>0.28678036326874851</c:v>
                </c:pt>
                <c:pt idx="6">
                  <c:v>0.30864487371188054</c:v>
                </c:pt>
                <c:pt idx="7">
                  <c:v>0.3190504902438305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7FE6-4BCD-9C7D-4899FF09BFAF}"/>
            </c:ext>
          </c:extLst>
        </c:ser>
        <c:ser>
          <c:idx val="3"/>
          <c:order val="3"/>
          <c:tx>
            <c:strRef>
              <c:f>'temp-Attiki'!$Q$5</c:f>
              <c:strCache>
                <c:ptCount val="1"/>
                <c:pt idx="0">
                  <c:v>ΣΜ10</c:v>
                </c:pt>
              </c:strCache>
            </c:strRef>
          </c:tx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x"/>
            <c:size val="6"/>
            <c:spPr>
              <a:noFill/>
              <a:ln w="9525">
                <a:solidFill>
                  <a:schemeClr val="accent4"/>
                </a:solidFill>
                <a:round/>
              </a:ln>
              <a:effectLst/>
            </c:spPr>
          </c:marker>
          <c:xVal>
            <c:numRef>
              <c:f>'temp-Attiki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Attiki'!$R$5:$Y$5</c:f>
              <c:numCache>
                <c:formatCode>General</c:formatCode>
                <c:ptCount val="8"/>
                <c:pt idx="0">
                  <c:v>0.65615996791431963</c:v>
                </c:pt>
                <c:pt idx="1">
                  <c:v>0.4881773684007823</c:v>
                </c:pt>
                <c:pt idx="2">
                  <c:v>0.40399812753763897</c:v>
                </c:pt>
                <c:pt idx="3">
                  <c:v>0.38443674646083681</c:v>
                </c:pt>
                <c:pt idx="4">
                  <c:v>0.38884984582029036</c:v>
                </c:pt>
                <c:pt idx="5">
                  <c:v>0.3853508171495223</c:v>
                </c:pt>
                <c:pt idx="6">
                  <c:v>0.37256718395025096</c:v>
                </c:pt>
                <c:pt idx="7">
                  <c:v>0.3385580410235183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7FE6-4BCD-9C7D-4899FF09BFAF}"/>
            </c:ext>
          </c:extLst>
        </c:ser>
        <c:ser>
          <c:idx val="4"/>
          <c:order val="4"/>
          <c:tx>
            <c:strRef>
              <c:f>'temp-Attiki'!$Q$6</c:f>
              <c:strCache>
                <c:ptCount val="1"/>
                <c:pt idx="0">
                  <c:v>ΣΜ24</c:v>
                </c:pt>
              </c:strCache>
            </c:strRef>
          </c:tx>
          <c:spPr>
            <a:ln w="22225" cap="rnd">
              <a:solidFill>
                <a:schemeClr val="accent5"/>
              </a:solidFill>
              <a:round/>
            </a:ln>
            <a:effectLst/>
          </c:spPr>
          <c:marker>
            <c:symbol val="star"/>
            <c:size val="6"/>
            <c:spPr>
              <a:noFill/>
              <a:ln w="9525">
                <a:solidFill>
                  <a:schemeClr val="accent5"/>
                </a:solidFill>
                <a:round/>
              </a:ln>
              <a:effectLst/>
            </c:spPr>
          </c:marker>
          <c:xVal>
            <c:numRef>
              <c:f>'temp-Attiki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Attiki'!$R$6:$Y$6</c:f>
              <c:numCache>
                <c:formatCode>General</c:formatCode>
                <c:ptCount val="8"/>
                <c:pt idx="0">
                  <c:v>0.676256450289901</c:v>
                </c:pt>
                <c:pt idx="1">
                  <c:v>0.53299352406052092</c:v>
                </c:pt>
                <c:pt idx="2">
                  <c:v>0.45223961044999073</c:v>
                </c:pt>
                <c:pt idx="3">
                  <c:v>0.41393656549941843</c:v>
                </c:pt>
                <c:pt idx="4">
                  <c:v>0.39553978175470206</c:v>
                </c:pt>
                <c:pt idx="5">
                  <c:v>0.3872650565545418</c:v>
                </c:pt>
                <c:pt idx="6">
                  <c:v>0.37313699567350134</c:v>
                </c:pt>
                <c:pt idx="7">
                  <c:v>0.3401729250994967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7FE6-4BCD-9C7D-4899FF09BFAF}"/>
            </c:ext>
          </c:extLst>
        </c:ser>
        <c:ser>
          <c:idx val="5"/>
          <c:order val="5"/>
          <c:tx>
            <c:strRef>
              <c:f>'temp-Attiki'!$Q$7</c:f>
              <c:strCache>
                <c:ptCount val="1"/>
                <c:pt idx="0">
                  <c:v>ΑΜ</c:v>
                </c:pt>
              </c:strCache>
            </c:strRef>
          </c:tx>
          <c:spPr>
            <a:ln w="2222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</a:ln>
              <a:effectLst/>
            </c:spPr>
          </c:marker>
          <c:xVal>
            <c:numRef>
              <c:f>'temp-Attiki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Attiki'!$R$7:$Y$7</c:f>
              <c:numCache>
                <c:formatCode>General</c:formatCode>
                <c:ptCount val="8"/>
                <c:pt idx="0">
                  <c:v>0.60630129665701682</c:v>
                </c:pt>
                <c:pt idx="1">
                  <c:v>0.44025388069517729</c:v>
                </c:pt>
                <c:pt idx="2">
                  <c:v>0.35135332138251485</c:v>
                </c:pt>
                <c:pt idx="3">
                  <c:v>0.30953087143787694</c:v>
                </c:pt>
                <c:pt idx="4">
                  <c:v>0.29578099706112132</c:v>
                </c:pt>
                <c:pt idx="5">
                  <c:v>0.29887982651277606</c:v>
                </c:pt>
                <c:pt idx="6">
                  <c:v>0.29305153218273594</c:v>
                </c:pt>
                <c:pt idx="7">
                  <c:v>0.270142196504960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7FE6-4BCD-9C7D-4899FF09BFAF}"/>
            </c:ext>
          </c:extLst>
        </c:ser>
        <c:ser>
          <c:idx val="6"/>
          <c:order val="6"/>
          <c:tx>
            <c:strRef>
              <c:f>'temp-Attiki'!$Q$8</c:f>
              <c:strCache>
                <c:ptCount val="1"/>
                <c:pt idx="0">
                  <c:v>ΜΠ</c:v>
                </c:pt>
              </c:strCache>
            </c:strRef>
          </c:tx>
          <c:spPr>
            <a:ln w="222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plus"/>
            <c:size val="6"/>
            <c:spPr>
              <a:noFill/>
              <a:ln w="9525">
                <a:solidFill>
                  <a:schemeClr val="accent1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Attiki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Attiki'!$R$8:$Y$8</c:f>
              <c:numCache>
                <c:formatCode>0.000</c:formatCode>
                <c:ptCount val="8"/>
                <c:pt idx="0">
                  <c:v>0.59493634342233193</c:v>
                </c:pt>
                <c:pt idx="1">
                  <c:v>0.71420593468782234</c:v>
                </c:pt>
                <c:pt idx="2">
                  <c:v>0.67718208258468804</c:v>
                </c:pt>
                <c:pt idx="3">
                  <c:v>0.623968601087294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7FE6-4BCD-9C7D-4899FF09BFAF}"/>
            </c:ext>
          </c:extLst>
        </c:ser>
        <c:ser>
          <c:idx val="7"/>
          <c:order val="7"/>
          <c:tx>
            <c:strRef>
              <c:f>'temp-Attiki'!$Q$9</c:f>
              <c:strCache>
                <c:ptCount val="1"/>
                <c:pt idx="0">
                  <c:v>ΣΠΜ1</c:v>
                </c:pt>
              </c:strCache>
            </c:strRef>
          </c:tx>
          <c:spPr>
            <a:ln w="222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dot"/>
            <c:size val="6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Attiki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Attiki'!$R$9:$Y$9</c:f>
              <c:numCache>
                <c:formatCode>0.000</c:formatCode>
                <c:ptCount val="8"/>
                <c:pt idx="0">
                  <c:v>0.86635713532047565</c:v>
                </c:pt>
                <c:pt idx="1">
                  <c:v>0.80271816735691159</c:v>
                </c:pt>
                <c:pt idx="2">
                  <c:v>0.72560821553759625</c:v>
                </c:pt>
                <c:pt idx="3">
                  <c:v>0.683398063503852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7FE6-4BCD-9C7D-4899FF09BFAF}"/>
            </c:ext>
          </c:extLst>
        </c:ser>
        <c:ser>
          <c:idx val="8"/>
          <c:order val="8"/>
          <c:tx>
            <c:strRef>
              <c:f>'temp-Attiki'!$Q$10</c:f>
              <c:strCache>
                <c:ptCount val="1"/>
                <c:pt idx="0">
                  <c:v>ΣΠΜ10</c:v>
                </c:pt>
              </c:strCache>
            </c:strRef>
          </c:tx>
          <c:spPr>
            <a:ln w="222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dash"/>
            <c:size val="6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Attiki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Attiki'!$R$10:$Y$10</c:f>
              <c:numCache>
                <c:formatCode>0.000</c:formatCode>
                <c:ptCount val="8"/>
                <c:pt idx="0">
                  <c:v>0.86706296795201709</c:v>
                </c:pt>
                <c:pt idx="1">
                  <c:v>0.81802243113040063</c:v>
                </c:pt>
                <c:pt idx="2">
                  <c:v>0.75479140561519886</c:v>
                </c:pt>
                <c:pt idx="3">
                  <c:v>0.712160217934038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7FE6-4BCD-9C7D-4899FF09BFAF}"/>
            </c:ext>
          </c:extLst>
        </c:ser>
        <c:ser>
          <c:idx val="9"/>
          <c:order val="9"/>
          <c:tx>
            <c:strRef>
              <c:f>'temp-Attiki'!$Q$11</c:f>
              <c:strCache>
                <c:ptCount val="1"/>
                <c:pt idx="0">
                  <c:v>ΣΠΜ24</c:v>
                </c:pt>
              </c:strCache>
            </c:strRef>
          </c:tx>
          <c:spPr>
            <a:ln w="222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Attiki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Attiki'!$R$11:$Y$11</c:f>
              <c:numCache>
                <c:formatCode>0.000</c:formatCode>
                <c:ptCount val="8"/>
                <c:pt idx="0">
                  <c:v>0.86698224183579042</c:v>
                </c:pt>
                <c:pt idx="1">
                  <c:v>0.8180789242799017</c:v>
                </c:pt>
                <c:pt idx="2">
                  <c:v>0.75566411113204968</c:v>
                </c:pt>
                <c:pt idx="3">
                  <c:v>0.713531669357594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7FE6-4BCD-9C7D-4899FF09BFAF}"/>
            </c:ext>
          </c:extLst>
        </c:ser>
        <c:ser>
          <c:idx val="10"/>
          <c:order val="10"/>
          <c:tx>
            <c:strRef>
              <c:f>'temp-Attiki'!$Q$12</c:f>
              <c:strCache>
                <c:ptCount val="1"/>
                <c:pt idx="0">
                  <c:v>ΣΠΑΜ</c:v>
                </c:pt>
              </c:strCache>
            </c:strRef>
          </c:tx>
          <c:spPr>
            <a:ln w="222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Attiki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Attiki'!$R$12:$Y$12</c:f>
              <c:numCache>
                <c:formatCode>0.000</c:formatCode>
                <c:ptCount val="8"/>
                <c:pt idx="0">
                  <c:v>0.69036129672143443</c:v>
                </c:pt>
                <c:pt idx="1">
                  <c:v>0.59968158987191689</c:v>
                </c:pt>
                <c:pt idx="2">
                  <c:v>0.54008665616341922</c:v>
                </c:pt>
                <c:pt idx="3">
                  <c:v>0.544138253242938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7FE6-4BCD-9C7D-4899FF09BF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6150400"/>
        <c:axId val="173621248"/>
      </c:scatterChart>
      <c:valAx>
        <c:axId val="176150400"/>
        <c:scaling>
          <c:orientation val="minMax"/>
          <c:max val="2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χρονικο βαθος προγνωσης</a:t>
                </a:r>
                <a:endParaRPr lang="el-G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73621248"/>
        <c:crosses val="autoZero"/>
        <c:crossBetween val="midCat"/>
        <c:majorUnit val="4"/>
      </c:valAx>
      <c:valAx>
        <c:axId val="173621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συντελεστης αποδοσησ </a:t>
                </a:r>
                <a:r>
                  <a:rPr lang="en-US" sz="900" b="0" i="0" cap="all" baseline="0">
                    <a:effectLst/>
                  </a:rPr>
                  <a:t>nash-sutcliffe</a:t>
                </a:r>
                <a:endParaRPr lang="el-GR" sz="200">
                  <a:effectLst/>
                </a:endParaRPr>
              </a:p>
            </c:rich>
          </c:tx>
          <c:layout>
            <c:manualLayout>
              <c:xMode val="edge"/>
              <c:yMode val="edge"/>
              <c:x val="7.164350193437456E-3"/>
              <c:y val="0.1625367537127479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7615040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solidFill>
        <a:srgbClr val="FF0000"/>
      </a:solidFill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59948958891332"/>
          <c:y val="5.1063170295490172E-2"/>
          <c:w val="0.83723385012383045"/>
          <c:h val="0.81182435877707182"/>
        </c:manualLayout>
      </c:layout>
      <c:scatterChart>
        <c:scatterStyle val="lineMarker"/>
        <c:varyColors val="0"/>
        <c:ser>
          <c:idx val="0"/>
          <c:order val="0"/>
          <c:tx>
            <c:strRef>
              <c:f>'temp-Lond'!$Q$2</c:f>
              <c:strCache>
                <c:ptCount val="1"/>
                <c:pt idx="0">
                  <c:v>Β1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2:$Y$2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6F2-4597-9D84-DBC221393E7F}"/>
            </c:ext>
          </c:extLst>
        </c:ser>
        <c:ser>
          <c:idx val="1"/>
          <c:order val="1"/>
          <c:tx>
            <c:strRef>
              <c:f>'temp-Lond'!$Q$3</c:f>
              <c:strCache>
                <c:ptCount val="1"/>
                <c:pt idx="0">
                  <c:v>Β2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3:$Y$3</c:f>
              <c:numCache>
                <c:formatCode>General</c:formatCode>
                <c:ptCount val="8"/>
                <c:pt idx="0">
                  <c:v>0.8585924885162779</c:v>
                </c:pt>
                <c:pt idx="1">
                  <c:v>0.69820603154266159</c:v>
                </c:pt>
                <c:pt idx="2">
                  <c:v>0.58321065269316663</c:v>
                </c:pt>
                <c:pt idx="3">
                  <c:v>0.51557468105393056</c:v>
                </c:pt>
                <c:pt idx="4">
                  <c:v>0.47663778165582432</c:v>
                </c:pt>
                <c:pt idx="5">
                  <c:v>0.44370771250894375</c:v>
                </c:pt>
                <c:pt idx="6">
                  <c:v>0.41819834437891268</c:v>
                </c:pt>
                <c:pt idx="7">
                  <c:v>0.3733361089535103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6F2-4597-9D84-DBC221393E7F}"/>
            </c:ext>
          </c:extLst>
        </c:ser>
        <c:ser>
          <c:idx val="2"/>
          <c:order val="2"/>
          <c:tx>
            <c:strRef>
              <c:f>'temp-Lond'!$Q$4</c:f>
              <c:strCache>
                <c:ptCount val="1"/>
                <c:pt idx="0">
                  <c:v>ΣΜ1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4:$Y$4</c:f>
              <c:numCache>
                <c:formatCode>General</c:formatCode>
                <c:ptCount val="8"/>
                <c:pt idx="0">
                  <c:v>0.86541835216386764</c:v>
                </c:pt>
                <c:pt idx="1">
                  <c:v>0.72612724210611224</c:v>
                </c:pt>
                <c:pt idx="2">
                  <c:v>0.63277171476940353</c:v>
                </c:pt>
                <c:pt idx="3">
                  <c:v>0.57315672089574743</c:v>
                </c:pt>
                <c:pt idx="4">
                  <c:v>0.53710800964629024</c:v>
                </c:pt>
                <c:pt idx="5">
                  <c:v>0.51263968361807999</c:v>
                </c:pt>
                <c:pt idx="6">
                  <c:v>0.49729058994311831</c:v>
                </c:pt>
                <c:pt idx="7">
                  <c:v>0.4711584337562918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F6F2-4597-9D84-DBC221393E7F}"/>
            </c:ext>
          </c:extLst>
        </c:ser>
        <c:ser>
          <c:idx val="3"/>
          <c:order val="3"/>
          <c:tx>
            <c:strRef>
              <c:f>'temp-Lond'!$Q$5</c:f>
              <c:strCache>
                <c:ptCount val="1"/>
                <c:pt idx="0">
                  <c:v>ΣΜ10</c:v>
                </c:pt>
              </c:strCache>
            </c:strRef>
          </c:tx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x"/>
            <c:size val="6"/>
            <c:spPr>
              <a:noFill/>
              <a:ln w="9525">
                <a:solidFill>
                  <a:schemeClr val="accent4"/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5:$Y$5</c:f>
              <c:numCache>
                <c:formatCode>General</c:formatCode>
                <c:ptCount val="8"/>
                <c:pt idx="0">
                  <c:v>0.86639452883377377</c:v>
                </c:pt>
                <c:pt idx="1">
                  <c:v>0.73076907624805865</c:v>
                </c:pt>
                <c:pt idx="2">
                  <c:v>0.64380196445010662</c:v>
                </c:pt>
                <c:pt idx="3">
                  <c:v>0.59091448301542548</c:v>
                </c:pt>
                <c:pt idx="4">
                  <c:v>0.51925542155671955</c:v>
                </c:pt>
                <c:pt idx="5">
                  <c:v>0.49590709283097822</c:v>
                </c:pt>
                <c:pt idx="6">
                  <c:v>0.47763106870738276</c:v>
                </c:pt>
                <c:pt idx="7">
                  <c:v>0.4572307035986498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F6F2-4597-9D84-DBC221393E7F}"/>
            </c:ext>
          </c:extLst>
        </c:ser>
        <c:ser>
          <c:idx val="4"/>
          <c:order val="4"/>
          <c:tx>
            <c:strRef>
              <c:f>'temp-Lond'!$Q$6</c:f>
              <c:strCache>
                <c:ptCount val="1"/>
                <c:pt idx="0">
                  <c:v>ΣΜ24</c:v>
                </c:pt>
              </c:strCache>
            </c:strRef>
          </c:tx>
          <c:spPr>
            <a:ln w="22225" cap="rnd">
              <a:solidFill>
                <a:schemeClr val="accent5"/>
              </a:solidFill>
              <a:round/>
            </a:ln>
            <a:effectLst/>
          </c:spPr>
          <c:marker>
            <c:symbol val="star"/>
            <c:size val="6"/>
            <c:spPr>
              <a:noFill/>
              <a:ln w="9525">
                <a:solidFill>
                  <a:schemeClr val="accent5"/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6:$Y$6</c:f>
              <c:numCache>
                <c:formatCode>General</c:formatCode>
                <c:ptCount val="8"/>
                <c:pt idx="0">
                  <c:v>0.86855263692490225</c:v>
                </c:pt>
                <c:pt idx="1">
                  <c:v>0.73987031486388966</c:v>
                </c:pt>
                <c:pt idx="2">
                  <c:v>0.65679536147115281</c:v>
                </c:pt>
                <c:pt idx="3">
                  <c:v>0.5984912796079882</c:v>
                </c:pt>
                <c:pt idx="4">
                  <c:v>0.53468516440592939</c:v>
                </c:pt>
                <c:pt idx="5">
                  <c:v>0.51053199698537854</c:v>
                </c:pt>
                <c:pt idx="6">
                  <c:v>0.47637972406232332</c:v>
                </c:pt>
                <c:pt idx="7">
                  <c:v>0.439504470433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F6F2-4597-9D84-DBC221393E7F}"/>
            </c:ext>
          </c:extLst>
        </c:ser>
        <c:ser>
          <c:idx val="5"/>
          <c:order val="5"/>
          <c:tx>
            <c:strRef>
              <c:f>'temp-Lond'!$Q$7</c:f>
              <c:strCache>
                <c:ptCount val="1"/>
                <c:pt idx="0">
                  <c:v>ΑΜ</c:v>
                </c:pt>
              </c:strCache>
            </c:strRef>
          </c:tx>
          <c:spPr>
            <a:ln w="2222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7:$Y$7</c:f>
              <c:numCache>
                <c:formatCode>General</c:formatCode>
                <c:ptCount val="8"/>
                <c:pt idx="0">
                  <c:v>0.83515728433893355</c:v>
                </c:pt>
                <c:pt idx="1">
                  <c:v>0.70779928628753819</c:v>
                </c:pt>
                <c:pt idx="2">
                  <c:v>0.62156926613454133</c:v>
                </c:pt>
                <c:pt idx="3">
                  <c:v>0.57162179135266833</c:v>
                </c:pt>
                <c:pt idx="4">
                  <c:v>0.53994291856176269</c:v>
                </c:pt>
                <c:pt idx="5">
                  <c:v>0.51819174849066429</c:v>
                </c:pt>
                <c:pt idx="6">
                  <c:v>0.49757925121465352</c:v>
                </c:pt>
                <c:pt idx="7">
                  <c:v>0.4689537880563036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F6F2-4597-9D84-DBC221393E7F}"/>
            </c:ext>
          </c:extLst>
        </c:ser>
        <c:ser>
          <c:idx val="6"/>
          <c:order val="6"/>
          <c:tx>
            <c:strRef>
              <c:f>'temp-Lond'!$Q$8</c:f>
              <c:strCache>
                <c:ptCount val="1"/>
                <c:pt idx="0">
                  <c:v>ΜΠ</c:v>
                </c:pt>
              </c:strCache>
            </c:strRef>
          </c:tx>
          <c:spPr>
            <a:ln w="222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plus"/>
            <c:size val="6"/>
            <c:spPr>
              <a:noFill/>
              <a:ln w="9525">
                <a:solidFill>
                  <a:schemeClr val="accent1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8:$Y$8</c:f>
              <c:numCache>
                <c:formatCode>0.000</c:formatCode>
                <c:ptCount val="8"/>
                <c:pt idx="0">
                  <c:v>0.14766500958078621</c:v>
                </c:pt>
                <c:pt idx="1">
                  <c:v>5.6171970868102106E-2</c:v>
                </c:pt>
                <c:pt idx="2">
                  <c:v>6.7384999407935534E-2</c:v>
                </c:pt>
                <c:pt idx="3">
                  <c:v>0.1641336537642985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F6F2-4597-9D84-DBC221393E7F}"/>
            </c:ext>
          </c:extLst>
        </c:ser>
        <c:ser>
          <c:idx val="7"/>
          <c:order val="7"/>
          <c:tx>
            <c:strRef>
              <c:f>'temp-Lond'!$Q$9</c:f>
              <c:strCache>
                <c:ptCount val="1"/>
                <c:pt idx="0">
                  <c:v>ΣΠΜ1</c:v>
                </c:pt>
              </c:strCache>
            </c:strRef>
          </c:tx>
          <c:spPr>
            <a:ln w="222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dot"/>
            <c:size val="6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9:$Y$9</c:f>
              <c:numCache>
                <c:formatCode>0.000</c:formatCode>
                <c:ptCount val="8"/>
                <c:pt idx="0">
                  <c:v>0.90063326783390452</c:v>
                </c:pt>
                <c:pt idx="1">
                  <c:v>0.76234494254811469</c:v>
                </c:pt>
                <c:pt idx="2">
                  <c:v>0.73059959804777563</c:v>
                </c:pt>
                <c:pt idx="3">
                  <c:v>0.687953937955993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F6F2-4597-9D84-DBC221393E7F}"/>
            </c:ext>
          </c:extLst>
        </c:ser>
        <c:ser>
          <c:idx val="8"/>
          <c:order val="8"/>
          <c:tx>
            <c:strRef>
              <c:f>'temp-Lond'!$Q$10</c:f>
              <c:strCache>
                <c:ptCount val="1"/>
                <c:pt idx="0">
                  <c:v>ΣΠΜ10</c:v>
                </c:pt>
              </c:strCache>
            </c:strRef>
          </c:tx>
          <c:spPr>
            <a:ln w="222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dash"/>
            <c:size val="6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10:$Y$10</c:f>
              <c:numCache>
                <c:formatCode>0.000</c:formatCode>
                <c:ptCount val="8"/>
                <c:pt idx="0">
                  <c:v>0.91233510066996559</c:v>
                </c:pt>
                <c:pt idx="1">
                  <c:v>0.67386094288182263</c:v>
                </c:pt>
                <c:pt idx="2">
                  <c:v>0.65754765733937937</c:v>
                </c:pt>
                <c:pt idx="3">
                  <c:v>0.6373175914722627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F6F2-4597-9D84-DBC221393E7F}"/>
            </c:ext>
          </c:extLst>
        </c:ser>
        <c:ser>
          <c:idx val="9"/>
          <c:order val="9"/>
          <c:tx>
            <c:strRef>
              <c:f>'temp-Lond'!$Q$11</c:f>
              <c:strCache>
                <c:ptCount val="1"/>
                <c:pt idx="0">
                  <c:v>ΣΠΜ24</c:v>
                </c:pt>
              </c:strCache>
            </c:strRef>
          </c:tx>
          <c:spPr>
            <a:ln w="222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11:$Y$11</c:f>
              <c:numCache>
                <c:formatCode>0.000</c:formatCode>
                <c:ptCount val="8"/>
                <c:pt idx="0">
                  <c:v>0.91332884789502389</c:v>
                </c:pt>
                <c:pt idx="1">
                  <c:v>0.73170844196565321</c:v>
                </c:pt>
                <c:pt idx="2">
                  <c:v>0.70065105680868511</c:v>
                </c:pt>
                <c:pt idx="3">
                  <c:v>0.665601710630901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F6F2-4597-9D84-DBC221393E7F}"/>
            </c:ext>
          </c:extLst>
        </c:ser>
        <c:ser>
          <c:idx val="10"/>
          <c:order val="10"/>
          <c:tx>
            <c:strRef>
              <c:f>'temp-Lond'!$Q$12</c:f>
              <c:strCache>
                <c:ptCount val="1"/>
                <c:pt idx="0">
                  <c:v>ΣΠΑΜ</c:v>
                </c:pt>
              </c:strCache>
            </c:strRef>
          </c:tx>
          <c:spPr>
            <a:ln w="222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12:$Y$12</c:f>
              <c:numCache>
                <c:formatCode>0.000</c:formatCode>
                <c:ptCount val="8"/>
                <c:pt idx="0">
                  <c:v>0.87558242522874041</c:v>
                </c:pt>
                <c:pt idx="1">
                  <c:v>0.79851498505087259</c:v>
                </c:pt>
                <c:pt idx="2">
                  <c:v>0.7424630060456946</c:v>
                </c:pt>
                <c:pt idx="3">
                  <c:v>0.684064216602590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F6F2-4597-9D84-DBC221393E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3699456"/>
        <c:axId val="173701376"/>
      </c:scatterChart>
      <c:valAx>
        <c:axId val="173699456"/>
        <c:scaling>
          <c:orientation val="minMax"/>
          <c:max val="2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χρονικο βαθος προγνωσης</a:t>
                </a:r>
                <a:endParaRPr lang="el-G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73701376"/>
        <c:crosses val="autoZero"/>
        <c:crossBetween val="midCat"/>
        <c:majorUnit val="4"/>
      </c:valAx>
      <c:valAx>
        <c:axId val="173701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συντελεστης αποδοσησ </a:t>
                </a:r>
                <a:r>
                  <a:rPr lang="en-US" sz="900" b="0" i="0" cap="all" baseline="0">
                    <a:effectLst/>
                  </a:rPr>
                  <a:t>nash-sutcliffe</a:t>
                </a:r>
                <a:endParaRPr lang="el-G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7369945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solidFill>
        <a:srgbClr val="00B050"/>
      </a:solidFill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58552055993"/>
          <c:y val="5.0971598202238684E-2"/>
          <c:w val="0.83724781277340465"/>
          <c:h val="0.86865527656379404"/>
        </c:manualLayout>
      </c:layout>
      <c:scatterChart>
        <c:scatterStyle val="lineMarker"/>
        <c:varyColors val="0"/>
        <c:ser>
          <c:idx val="0"/>
          <c:order val="0"/>
          <c:tx>
            <c:strRef>
              <c:f>'temp-Melb'!$Q$2</c:f>
              <c:strCache>
                <c:ptCount val="1"/>
                <c:pt idx="0">
                  <c:v>Β1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2:$Y$2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550-4AB9-B19B-6F905FE47FDC}"/>
            </c:ext>
          </c:extLst>
        </c:ser>
        <c:ser>
          <c:idx val="1"/>
          <c:order val="1"/>
          <c:tx>
            <c:strRef>
              <c:f>'temp-Melb'!$Q$3</c:f>
              <c:strCache>
                <c:ptCount val="1"/>
                <c:pt idx="0">
                  <c:v>Β2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3:$Y$3</c:f>
              <c:numCache>
                <c:formatCode>General</c:formatCode>
                <c:ptCount val="8"/>
                <c:pt idx="0">
                  <c:v>0.71150551623133262</c:v>
                </c:pt>
                <c:pt idx="1">
                  <c:v>0.44284677094155722</c:v>
                </c:pt>
                <c:pt idx="2">
                  <c:v>0.23484950274290398</c:v>
                </c:pt>
                <c:pt idx="3">
                  <c:v>0.10151952520654828</c:v>
                </c:pt>
                <c:pt idx="4">
                  <c:v>2.7157627696984401E-2</c:v>
                </c:pt>
                <c:pt idx="5">
                  <c:v>-6.9751814591012692E-4</c:v>
                </c:pt>
                <c:pt idx="6">
                  <c:v>-7.1101748636454076E-2</c:v>
                </c:pt>
                <c:pt idx="7">
                  <c:v>-0.1341057286920116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550-4AB9-B19B-6F905FE47FDC}"/>
            </c:ext>
          </c:extLst>
        </c:ser>
        <c:ser>
          <c:idx val="2"/>
          <c:order val="2"/>
          <c:tx>
            <c:strRef>
              <c:f>'temp-Melb'!$Q$4</c:f>
              <c:strCache>
                <c:ptCount val="1"/>
                <c:pt idx="0">
                  <c:v>ΣΜ1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4:$Y$4</c:f>
              <c:numCache>
                <c:formatCode>General</c:formatCode>
                <c:ptCount val="8"/>
                <c:pt idx="0">
                  <c:v>0.73274698236474345</c:v>
                </c:pt>
                <c:pt idx="1">
                  <c:v>0.52311028112416058</c:v>
                </c:pt>
                <c:pt idx="2">
                  <c:v>0.38524362980635785</c:v>
                </c:pt>
                <c:pt idx="3">
                  <c:v>0.30867125582590182</c:v>
                </c:pt>
                <c:pt idx="4">
                  <c:v>0.27020423742147726</c:v>
                </c:pt>
                <c:pt idx="5">
                  <c:v>0.25533472868610224</c:v>
                </c:pt>
                <c:pt idx="6">
                  <c:v>0.2239639713777889</c:v>
                </c:pt>
                <c:pt idx="7">
                  <c:v>0.1962215957647886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550-4AB9-B19B-6F905FE47FDC}"/>
            </c:ext>
          </c:extLst>
        </c:ser>
        <c:ser>
          <c:idx val="3"/>
          <c:order val="3"/>
          <c:tx>
            <c:strRef>
              <c:f>'temp-Melb'!$Q$5</c:f>
              <c:strCache>
                <c:ptCount val="1"/>
                <c:pt idx="0">
                  <c:v>ΣΜ10</c:v>
                </c:pt>
              </c:strCache>
            </c:strRef>
          </c:tx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x"/>
            <c:size val="6"/>
            <c:spPr>
              <a:noFill/>
              <a:ln w="9525">
                <a:solidFill>
                  <a:schemeClr val="accent4"/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5:$Y$5</c:f>
              <c:numCache>
                <c:formatCode>General</c:formatCode>
                <c:ptCount val="8"/>
                <c:pt idx="0">
                  <c:v>0.7334843628491361</c:v>
                </c:pt>
                <c:pt idx="1">
                  <c:v>0.52970587652178225</c:v>
                </c:pt>
                <c:pt idx="2">
                  <c:v>0.40493858303800406</c:v>
                </c:pt>
                <c:pt idx="3">
                  <c:v>0.33252291135638706</c:v>
                </c:pt>
                <c:pt idx="4">
                  <c:v>0.28277274358594812</c:v>
                </c:pt>
                <c:pt idx="5">
                  <c:v>0.26038630849988564</c:v>
                </c:pt>
                <c:pt idx="6">
                  <c:v>0.22259384069769494</c:v>
                </c:pt>
                <c:pt idx="7">
                  <c:v>0.194042523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6550-4AB9-B19B-6F905FE47FDC}"/>
            </c:ext>
          </c:extLst>
        </c:ser>
        <c:ser>
          <c:idx val="4"/>
          <c:order val="4"/>
          <c:tx>
            <c:strRef>
              <c:f>'temp-Melb'!$Q$6</c:f>
              <c:strCache>
                <c:ptCount val="1"/>
                <c:pt idx="0">
                  <c:v>ΣΜ24</c:v>
                </c:pt>
              </c:strCache>
            </c:strRef>
          </c:tx>
          <c:spPr>
            <a:ln w="22225" cap="rnd">
              <a:solidFill>
                <a:schemeClr val="accent5"/>
              </a:solidFill>
              <a:round/>
            </a:ln>
            <a:effectLst/>
          </c:spPr>
          <c:marker>
            <c:symbol val="star"/>
            <c:size val="6"/>
            <c:spPr>
              <a:noFill/>
              <a:ln w="9525">
                <a:solidFill>
                  <a:schemeClr val="accent5"/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6:$Y$6</c:f>
              <c:numCache>
                <c:formatCode>General</c:formatCode>
                <c:ptCount val="8"/>
                <c:pt idx="0">
                  <c:v>0.7369598710619697</c:v>
                </c:pt>
                <c:pt idx="1">
                  <c:v>0.5365939017335345</c:v>
                </c:pt>
                <c:pt idx="2">
                  <c:v>0.40904303674597575</c:v>
                </c:pt>
                <c:pt idx="3">
                  <c:v>0.3355799882882608</c:v>
                </c:pt>
                <c:pt idx="4">
                  <c:v>0.28876291275721938</c:v>
                </c:pt>
                <c:pt idx="5">
                  <c:v>0.25993549791534742</c:v>
                </c:pt>
                <c:pt idx="6">
                  <c:v>0.22471802279744232</c:v>
                </c:pt>
                <c:pt idx="7">
                  <c:v>0.192618231615262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6550-4AB9-B19B-6F905FE47FDC}"/>
            </c:ext>
          </c:extLst>
        </c:ser>
        <c:ser>
          <c:idx val="5"/>
          <c:order val="5"/>
          <c:tx>
            <c:strRef>
              <c:f>'temp-Melb'!$Q$7</c:f>
              <c:strCache>
                <c:ptCount val="1"/>
                <c:pt idx="0">
                  <c:v>ΑΜ</c:v>
                </c:pt>
              </c:strCache>
            </c:strRef>
          </c:tx>
          <c:spPr>
            <a:ln w="2222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7:$Y$7</c:f>
              <c:numCache>
                <c:formatCode>General</c:formatCode>
                <c:ptCount val="8"/>
                <c:pt idx="0">
                  <c:v>0.70011411367891663</c:v>
                </c:pt>
                <c:pt idx="1">
                  <c:v>0.50694276070153677</c:v>
                </c:pt>
                <c:pt idx="2">
                  <c:v>0.37342917872456477</c:v>
                </c:pt>
                <c:pt idx="3">
                  <c:v>0.30028462504818482</c:v>
                </c:pt>
                <c:pt idx="4">
                  <c:v>0.2634048626216649</c:v>
                </c:pt>
                <c:pt idx="5">
                  <c:v>0.23103501276643498</c:v>
                </c:pt>
                <c:pt idx="6">
                  <c:v>0.1931043992942422</c:v>
                </c:pt>
                <c:pt idx="7">
                  <c:v>0.152559410712177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6550-4AB9-B19B-6F905FE47FDC}"/>
            </c:ext>
          </c:extLst>
        </c:ser>
        <c:ser>
          <c:idx val="6"/>
          <c:order val="6"/>
          <c:tx>
            <c:strRef>
              <c:f>'temp-Melb'!$Q$8</c:f>
              <c:strCache>
                <c:ptCount val="1"/>
                <c:pt idx="0">
                  <c:v>ΜΠ</c:v>
                </c:pt>
              </c:strCache>
            </c:strRef>
          </c:tx>
          <c:spPr>
            <a:ln w="222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plus"/>
            <c:size val="6"/>
            <c:spPr>
              <a:noFill/>
              <a:ln w="9525">
                <a:solidFill>
                  <a:schemeClr val="accent1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8:$Y$8</c:f>
              <c:numCache>
                <c:formatCode>0.000</c:formatCode>
                <c:ptCount val="8"/>
                <c:pt idx="0">
                  <c:v>-0.15780453991898713</c:v>
                </c:pt>
                <c:pt idx="1">
                  <c:v>-0.92726934086070656</c:v>
                </c:pt>
                <c:pt idx="2">
                  <c:v>-0.23475807307813534</c:v>
                </c:pt>
                <c:pt idx="3">
                  <c:v>-1.066043606132026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6550-4AB9-B19B-6F905FE47FDC}"/>
            </c:ext>
          </c:extLst>
        </c:ser>
        <c:ser>
          <c:idx val="7"/>
          <c:order val="7"/>
          <c:tx>
            <c:strRef>
              <c:f>'temp-Melb'!$Q$9</c:f>
              <c:strCache>
                <c:ptCount val="1"/>
                <c:pt idx="0">
                  <c:v>ΣΠΜ1</c:v>
                </c:pt>
              </c:strCache>
            </c:strRef>
          </c:tx>
          <c:spPr>
            <a:ln w="222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dot"/>
            <c:size val="6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9:$Y$9</c:f>
              <c:numCache>
                <c:formatCode>0.000</c:formatCode>
                <c:ptCount val="8"/>
                <c:pt idx="0">
                  <c:v>0.72736788940637498</c:v>
                </c:pt>
                <c:pt idx="1">
                  <c:v>0.46521229219543958</c:v>
                </c:pt>
                <c:pt idx="2">
                  <c:v>0.4261283812355689</c:v>
                </c:pt>
                <c:pt idx="3">
                  <c:v>0.4523174362923412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6550-4AB9-B19B-6F905FE47FDC}"/>
            </c:ext>
          </c:extLst>
        </c:ser>
        <c:ser>
          <c:idx val="8"/>
          <c:order val="8"/>
          <c:tx>
            <c:strRef>
              <c:f>'temp-Melb'!$Q$10</c:f>
              <c:strCache>
                <c:ptCount val="1"/>
                <c:pt idx="0">
                  <c:v>ΣΠΜ10</c:v>
                </c:pt>
              </c:strCache>
            </c:strRef>
          </c:tx>
          <c:spPr>
            <a:ln w="222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dash"/>
            <c:size val="6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10:$Y$10</c:f>
              <c:numCache>
                <c:formatCode>0.000</c:formatCode>
                <c:ptCount val="8"/>
                <c:pt idx="0">
                  <c:v>0.73720974482693746</c:v>
                </c:pt>
                <c:pt idx="1">
                  <c:v>0.40702458150060727</c:v>
                </c:pt>
                <c:pt idx="2">
                  <c:v>0.38213157502376682</c:v>
                </c:pt>
                <c:pt idx="3">
                  <c:v>0.404887871950373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6550-4AB9-B19B-6F905FE47FDC}"/>
            </c:ext>
          </c:extLst>
        </c:ser>
        <c:ser>
          <c:idx val="9"/>
          <c:order val="9"/>
          <c:tx>
            <c:strRef>
              <c:f>'temp-Melb'!$Q$11</c:f>
              <c:strCache>
                <c:ptCount val="1"/>
                <c:pt idx="0">
                  <c:v>ΣΠΜ24</c:v>
                </c:pt>
              </c:strCache>
            </c:strRef>
          </c:tx>
          <c:spPr>
            <a:ln w="222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11:$Y$11</c:f>
              <c:numCache>
                <c:formatCode>0.000</c:formatCode>
                <c:ptCount val="8"/>
                <c:pt idx="0">
                  <c:v>0.74382091728003619</c:v>
                </c:pt>
                <c:pt idx="1">
                  <c:v>0.41765901510086406</c:v>
                </c:pt>
                <c:pt idx="2">
                  <c:v>0.39334412112749961</c:v>
                </c:pt>
                <c:pt idx="3">
                  <c:v>0.417271274687459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6550-4AB9-B19B-6F905FE47FDC}"/>
            </c:ext>
          </c:extLst>
        </c:ser>
        <c:ser>
          <c:idx val="10"/>
          <c:order val="10"/>
          <c:tx>
            <c:strRef>
              <c:f>'temp-Melb'!$Q$12</c:f>
              <c:strCache>
                <c:ptCount val="1"/>
                <c:pt idx="0">
                  <c:v>ΣΠΑΜ</c:v>
                </c:pt>
              </c:strCache>
            </c:strRef>
          </c:tx>
          <c:spPr>
            <a:ln w="222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12:$Y$12</c:f>
              <c:numCache>
                <c:formatCode>0.000</c:formatCode>
                <c:ptCount val="8"/>
                <c:pt idx="0">
                  <c:v>0.67372327775206364</c:v>
                </c:pt>
                <c:pt idx="1">
                  <c:v>0.57742317461311865</c:v>
                </c:pt>
                <c:pt idx="2">
                  <c:v>0.48598771748842945</c:v>
                </c:pt>
                <c:pt idx="3">
                  <c:v>0.4585602622881935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6550-4AB9-B19B-6F905FE47F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6597632"/>
        <c:axId val="176620288"/>
      </c:scatterChart>
      <c:valAx>
        <c:axId val="176597632"/>
        <c:scaling>
          <c:orientation val="minMax"/>
          <c:max val="2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χρονικο βαθος προγνωσης</a:t>
                </a:r>
                <a:endParaRPr lang="el-G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76620288"/>
        <c:crosses val="autoZero"/>
        <c:crossBetween val="midCat"/>
        <c:majorUnit val="4"/>
      </c:valAx>
      <c:valAx>
        <c:axId val="1766202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συντελεστης αποδοσησ </a:t>
                </a:r>
                <a:r>
                  <a:rPr lang="en-US" sz="900" b="0" i="0" cap="all" baseline="0">
                    <a:effectLst/>
                  </a:rPr>
                  <a:t>nash-sutcliffe</a:t>
                </a:r>
                <a:endParaRPr lang="el-G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7659763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solidFill>
        <a:srgbClr val="0070C0"/>
      </a:solidFill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59951881014873"/>
          <c:y val="5.1063188960116634E-2"/>
          <c:w val="0.83723381452318613"/>
          <c:h val="0.83967693851875158"/>
        </c:manualLayout>
      </c:layout>
      <c:scatterChart>
        <c:scatterStyle val="lineMarker"/>
        <c:varyColors val="0"/>
        <c:ser>
          <c:idx val="0"/>
          <c:order val="0"/>
          <c:tx>
            <c:strRef>
              <c:f>'temp-NY'!$Q$2</c:f>
              <c:strCache>
                <c:ptCount val="1"/>
                <c:pt idx="0">
                  <c:v>Β1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xVal>
            <c:numRef>
              <c:f>'temp-NY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NY'!$R$2:$Y$2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F33-4231-A00A-0E6ED988D4A6}"/>
            </c:ext>
          </c:extLst>
        </c:ser>
        <c:ser>
          <c:idx val="1"/>
          <c:order val="1"/>
          <c:tx>
            <c:strRef>
              <c:f>'temp-NY'!$Q$3</c:f>
              <c:strCache>
                <c:ptCount val="1"/>
                <c:pt idx="0">
                  <c:v>Β2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xVal>
            <c:numRef>
              <c:f>'temp-NY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NY'!$R$3:$Y$3</c:f>
              <c:numCache>
                <c:formatCode>General</c:formatCode>
                <c:ptCount val="8"/>
                <c:pt idx="0">
                  <c:v>0.89791321717254835</c:v>
                </c:pt>
                <c:pt idx="1">
                  <c:v>0.76114977246789539</c:v>
                </c:pt>
                <c:pt idx="2">
                  <c:v>0.62661180104038439</c:v>
                </c:pt>
                <c:pt idx="3">
                  <c:v>0.50728724214506049</c:v>
                </c:pt>
                <c:pt idx="4">
                  <c:v>0.40288641558404847</c:v>
                </c:pt>
                <c:pt idx="5">
                  <c:v>0.31354772499976302</c:v>
                </c:pt>
                <c:pt idx="6">
                  <c:v>0.22883850935571415</c:v>
                </c:pt>
                <c:pt idx="7">
                  <c:v>0.14303684891583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F33-4231-A00A-0E6ED988D4A6}"/>
            </c:ext>
          </c:extLst>
        </c:ser>
        <c:ser>
          <c:idx val="2"/>
          <c:order val="2"/>
          <c:tx>
            <c:strRef>
              <c:f>'temp-NY'!$Q$4</c:f>
              <c:strCache>
                <c:ptCount val="1"/>
                <c:pt idx="0">
                  <c:v>ΣΜ1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xVal>
            <c:numRef>
              <c:f>'temp-NY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NY'!$R$4:$Y$4</c:f>
              <c:numCache>
                <c:formatCode>General</c:formatCode>
                <c:ptCount val="8"/>
                <c:pt idx="0">
                  <c:v>0.90049603162765757</c:v>
                </c:pt>
                <c:pt idx="1">
                  <c:v>0.77541557580151987</c:v>
                </c:pt>
                <c:pt idx="2">
                  <c:v>0.66155429670319577</c:v>
                </c:pt>
                <c:pt idx="3">
                  <c:v>0.56805757486386854</c:v>
                </c:pt>
                <c:pt idx="4">
                  <c:v>0.49200589549742851</c:v>
                </c:pt>
                <c:pt idx="5">
                  <c:v>0.43100381387618392</c:v>
                </c:pt>
                <c:pt idx="6">
                  <c:v>0.3770791793276031</c:v>
                </c:pt>
                <c:pt idx="7">
                  <c:v>0.3262293002368721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F33-4231-A00A-0E6ED988D4A6}"/>
            </c:ext>
          </c:extLst>
        </c:ser>
        <c:ser>
          <c:idx val="3"/>
          <c:order val="3"/>
          <c:tx>
            <c:strRef>
              <c:f>'temp-NY'!$Q$5</c:f>
              <c:strCache>
                <c:ptCount val="1"/>
                <c:pt idx="0">
                  <c:v>ΣΜ10</c:v>
                </c:pt>
              </c:strCache>
            </c:strRef>
          </c:tx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x"/>
            <c:size val="6"/>
            <c:spPr>
              <a:noFill/>
              <a:ln w="9525">
                <a:solidFill>
                  <a:schemeClr val="accent4"/>
                </a:solidFill>
                <a:round/>
              </a:ln>
              <a:effectLst/>
            </c:spPr>
          </c:marker>
          <c:xVal>
            <c:numRef>
              <c:f>'temp-NY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NY'!$R$5:$Y$5</c:f>
              <c:numCache>
                <c:formatCode>General</c:formatCode>
                <c:ptCount val="8"/>
                <c:pt idx="0">
                  <c:v>0.89523076413319314</c:v>
                </c:pt>
                <c:pt idx="1">
                  <c:v>0.7688860995238519</c:v>
                </c:pt>
                <c:pt idx="2">
                  <c:v>0.6539890117959497</c:v>
                </c:pt>
                <c:pt idx="3">
                  <c:v>0.56085576763008871</c:v>
                </c:pt>
                <c:pt idx="4">
                  <c:v>0.48606647439729844</c:v>
                </c:pt>
                <c:pt idx="5">
                  <c:v>0.42578567895596725</c:v>
                </c:pt>
                <c:pt idx="6">
                  <c:v>0.37250535099546345</c:v>
                </c:pt>
                <c:pt idx="7">
                  <c:v>0.3218458517967778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F33-4231-A00A-0E6ED988D4A6}"/>
            </c:ext>
          </c:extLst>
        </c:ser>
        <c:ser>
          <c:idx val="4"/>
          <c:order val="4"/>
          <c:tx>
            <c:strRef>
              <c:f>'temp-NY'!$Q$6</c:f>
              <c:strCache>
                <c:ptCount val="1"/>
                <c:pt idx="0">
                  <c:v>ΣΜ24</c:v>
                </c:pt>
              </c:strCache>
            </c:strRef>
          </c:tx>
          <c:spPr>
            <a:ln w="22225" cap="rnd">
              <a:solidFill>
                <a:schemeClr val="accent5"/>
              </a:solidFill>
              <a:round/>
            </a:ln>
            <a:effectLst/>
          </c:spPr>
          <c:marker>
            <c:symbol val="star"/>
            <c:size val="6"/>
            <c:spPr>
              <a:noFill/>
              <a:ln w="9525">
                <a:solidFill>
                  <a:schemeClr val="accent5"/>
                </a:solidFill>
                <a:round/>
              </a:ln>
              <a:effectLst/>
            </c:spPr>
          </c:marker>
          <c:xVal>
            <c:numRef>
              <c:f>'temp-NY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NY'!$R$6:$Y$6</c:f>
              <c:numCache>
                <c:formatCode>General</c:formatCode>
                <c:ptCount val="8"/>
                <c:pt idx="0">
                  <c:v>0.89428037311789998</c:v>
                </c:pt>
                <c:pt idx="1">
                  <c:v>0.76715203885642014</c:v>
                </c:pt>
                <c:pt idx="2">
                  <c:v>0.65181912789861585</c:v>
                </c:pt>
                <c:pt idx="3">
                  <c:v>0.55848253299828809</c:v>
                </c:pt>
                <c:pt idx="4">
                  <c:v>0.48393230809821286</c:v>
                </c:pt>
                <c:pt idx="5">
                  <c:v>0.42443892077403489</c:v>
                </c:pt>
                <c:pt idx="6">
                  <c:v>0.37168182977949593</c:v>
                </c:pt>
                <c:pt idx="7">
                  <c:v>0.3217790184133647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F33-4231-A00A-0E6ED988D4A6}"/>
            </c:ext>
          </c:extLst>
        </c:ser>
        <c:ser>
          <c:idx val="5"/>
          <c:order val="5"/>
          <c:tx>
            <c:strRef>
              <c:f>'temp-NY'!$Q$7</c:f>
              <c:strCache>
                <c:ptCount val="1"/>
                <c:pt idx="0">
                  <c:v>ΑΜ</c:v>
                </c:pt>
              </c:strCache>
            </c:strRef>
          </c:tx>
          <c:spPr>
            <a:ln w="2222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</a:ln>
              <a:effectLst/>
            </c:spPr>
          </c:marker>
          <c:xVal>
            <c:numRef>
              <c:f>'temp-NY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NY'!$R$7:$Y$7</c:f>
              <c:numCache>
                <c:formatCode>General</c:formatCode>
                <c:ptCount val="8"/>
                <c:pt idx="0">
                  <c:v>0.86790658608492066</c:v>
                </c:pt>
                <c:pt idx="1">
                  <c:v>0.75475614328335172</c:v>
                </c:pt>
                <c:pt idx="2">
                  <c:v>0.64766281123443981</c:v>
                </c:pt>
                <c:pt idx="3">
                  <c:v>0.55415217109408943</c:v>
                </c:pt>
                <c:pt idx="4">
                  <c:v>0.47589265029153915</c:v>
                </c:pt>
                <c:pt idx="5">
                  <c:v>0.41003923935565018</c:v>
                </c:pt>
                <c:pt idx="6">
                  <c:v>0.35143527611942282</c:v>
                </c:pt>
                <c:pt idx="7">
                  <c:v>0.298387980054211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F33-4231-A00A-0E6ED988D4A6}"/>
            </c:ext>
          </c:extLst>
        </c:ser>
        <c:ser>
          <c:idx val="6"/>
          <c:order val="6"/>
          <c:tx>
            <c:strRef>
              <c:f>'temp-NY'!$Q$8</c:f>
              <c:strCache>
                <c:ptCount val="1"/>
                <c:pt idx="0">
                  <c:v>ΜΠ</c:v>
                </c:pt>
              </c:strCache>
            </c:strRef>
          </c:tx>
          <c:spPr>
            <a:ln w="222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plus"/>
            <c:size val="6"/>
            <c:spPr>
              <a:noFill/>
              <a:ln w="9525">
                <a:solidFill>
                  <a:schemeClr val="accent1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NY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NY'!$R$8:$Y$8</c:f>
              <c:numCache>
                <c:formatCode>0.000</c:formatCode>
                <c:ptCount val="8"/>
                <c:pt idx="0">
                  <c:v>0.28540220380350145</c:v>
                </c:pt>
                <c:pt idx="1">
                  <c:v>0.28376520548038464</c:v>
                </c:pt>
                <c:pt idx="2">
                  <c:v>0.22651280514789807</c:v>
                </c:pt>
                <c:pt idx="3">
                  <c:v>0.2585469557941263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F33-4231-A00A-0E6ED988D4A6}"/>
            </c:ext>
          </c:extLst>
        </c:ser>
        <c:ser>
          <c:idx val="7"/>
          <c:order val="7"/>
          <c:tx>
            <c:strRef>
              <c:f>'temp-NY'!$Q$9</c:f>
              <c:strCache>
                <c:ptCount val="1"/>
                <c:pt idx="0">
                  <c:v>ΣΠΜ1</c:v>
                </c:pt>
              </c:strCache>
            </c:strRef>
          </c:tx>
          <c:spPr>
            <a:ln w="222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dot"/>
            <c:size val="6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NY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NY'!$R$9:$Y$9</c:f>
              <c:numCache>
                <c:formatCode>0.000</c:formatCode>
                <c:ptCount val="8"/>
                <c:pt idx="0">
                  <c:v>0.90707977090032554</c:v>
                </c:pt>
                <c:pt idx="1">
                  <c:v>0.78313520940610015</c:v>
                </c:pt>
                <c:pt idx="2">
                  <c:v>0.68552533356398049</c:v>
                </c:pt>
                <c:pt idx="3">
                  <c:v>0.6252254771200014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F33-4231-A00A-0E6ED988D4A6}"/>
            </c:ext>
          </c:extLst>
        </c:ser>
        <c:ser>
          <c:idx val="8"/>
          <c:order val="8"/>
          <c:tx>
            <c:strRef>
              <c:f>'temp-NY'!$Q$10</c:f>
              <c:strCache>
                <c:ptCount val="1"/>
                <c:pt idx="0">
                  <c:v>ΣΠΜ10</c:v>
                </c:pt>
              </c:strCache>
            </c:strRef>
          </c:tx>
          <c:spPr>
            <a:ln w="222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dash"/>
            <c:size val="6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NY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NY'!$R$10:$Y$10</c:f>
              <c:numCache>
                <c:formatCode>0.000</c:formatCode>
                <c:ptCount val="8"/>
                <c:pt idx="0">
                  <c:v>0.90615876065564749</c:v>
                </c:pt>
                <c:pt idx="1">
                  <c:v>0.78201977377148912</c:v>
                </c:pt>
                <c:pt idx="2">
                  <c:v>0.68373376247624251</c:v>
                </c:pt>
                <c:pt idx="3">
                  <c:v>0.6229283314097373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F33-4231-A00A-0E6ED988D4A6}"/>
            </c:ext>
          </c:extLst>
        </c:ser>
        <c:ser>
          <c:idx val="9"/>
          <c:order val="9"/>
          <c:tx>
            <c:strRef>
              <c:f>'temp-NY'!$Q$11</c:f>
              <c:strCache>
                <c:ptCount val="1"/>
                <c:pt idx="0">
                  <c:v>ΣΠΜ24</c:v>
                </c:pt>
              </c:strCache>
            </c:strRef>
          </c:tx>
          <c:spPr>
            <a:ln w="222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NY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NY'!$R$11:$Y$11</c:f>
              <c:numCache>
                <c:formatCode>0.000</c:formatCode>
                <c:ptCount val="8"/>
                <c:pt idx="0">
                  <c:v>0.90508667522090958</c:v>
                </c:pt>
                <c:pt idx="1">
                  <c:v>0.78036035048068331</c:v>
                </c:pt>
                <c:pt idx="2">
                  <c:v>0.68540273732157064</c:v>
                </c:pt>
                <c:pt idx="3">
                  <c:v>0.624066082348390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F33-4231-A00A-0E6ED988D4A6}"/>
            </c:ext>
          </c:extLst>
        </c:ser>
        <c:ser>
          <c:idx val="10"/>
          <c:order val="10"/>
          <c:tx>
            <c:strRef>
              <c:f>'temp-NY'!$Q$12</c:f>
              <c:strCache>
                <c:ptCount val="1"/>
                <c:pt idx="0">
                  <c:v>ΣΠΑΜ</c:v>
                </c:pt>
              </c:strCache>
            </c:strRef>
          </c:tx>
          <c:spPr>
            <a:ln w="222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NY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NY'!$R$12:$Y$12</c:f>
              <c:numCache>
                <c:formatCode>0.000</c:formatCode>
                <c:ptCount val="8"/>
                <c:pt idx="0">
                  <c:v>0.88171077614609472</c:v>
                </c:pt>
                <c:pt idx="1">
                  <c:v>0.75004626866299162</c:v>
                </c:pt>
                <c:pt idx="2">
                  <c:v>0.6544072787468177</c:v>
                </c:pt>
                <c:pt idx="3">
                  <c:v>0.5896478220135377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F33-4231-A00A-0E6ED988D4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6804992"/>
        <c:axId val="176806912"/>
      </c:scatterChart>
      <c:valAx>
        <c:axId val="176804992"/>
        <c:scaling>
          <c:orientation val="minMax"/>
          <c:max val="2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χρονικο βαθος προγνωσης</a:t>
                </a:r>
                <a:endParaRPr lang="el-G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76806912"/>
        <c:crosses val="autoZero"/>
        <c:crossBetween val="midCat"/>
        <c:majorUnit val="4"/>
      </c:valAx>
      <c:valAx>
        <c:axId val="1768069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συντελεστης αποδοσησ </a:t>
                </a:r>
                <a:r>
                  <a:rPr lang="en-US" sz="900" b="0" i="0" cap="all" baseline="0">
                    <a:effectLst/>
                  </a:rPr>
                  <a:t>nash-sutcliffe</a:t>
                </a:r>
                <a:endParaRPr lang="el-G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7680499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accent6">
          <a:lumMod val="75000"/>
        </a:schemeClr>
      </a:solidFill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'temp-Lond'!$Q$2</c:f>
              <c:strCache>
                <c:ptCount val="1"/>
                <c:pt idx="0">
                  <c:v>Β1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2:$Y$2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8E4-4064-8163-1D5DF3E4C297}"/>
            </c:ext>
          </c:extLst>
        </c:ser>
        <c:ser>
          <c:idx val="1"/>
          <c:order val="1"/>
          <c:tx>
            <c:strRef>
              <c:f>'temp-Lond'!$Q$3</c:f>
              <c:strCache>
                <c:ptCount val="1"/>
                <c:pt idx="0">
                  <c:v>Β2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3:$Y$3</c:f>
              <c:numCache>
                <c:formatCode>General</c:formatCode>
                <c:ptCount val="8"/>
                <c:pt idx="0">
                  <c:v>0.8585924885162779</c:v>
                </c:pt>
                <c:pt idx="1">
                  <c:v>0.69820603154266159</c:v>
                </c:pt>
                <c:pt idx="2">
                  <c:v>0.58321065269316663</c:v>
                </c:pt>
                <c:pt idx="3">
                  <c:v>0.51557468105393056</c:v>
                </c:pt>
                <c:pt idx="4">
                  <c:v>0.47663778165582432</c:v>
                </c:pt>
                <c:pt idx="5">
                  <c:v>0.44370771250894375</c:v>
                </c:pt>
                <c:pt idx="6">
                  <c:v>0.41819834437891268</c:v>
                </c:pt>
                <c:pt idx="7">
                  <c:v>0.3733361089535103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A8E4-4064-8163-1D5DF3E4C297}"/>
            </c:ext>
          </c:extLst>
        </c:ser>
        <c:ser>
          <c:idx val="2"/>
          <c:order val="2"/>
          <c:tx>
            <c:strRef>
              <c:f>'temp-Lond'!$Q$4</c:f>
              <c:strCache>
                <c:ptCount val="1"/>
                <c:pt idx="0">
                  <c:v>ΣΜ1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4:$Y$4</c:f>
              <c:numCache>
                <c:formatCode>General</c:formatCode>
                <c:ptCount val="8"/>
                <c:pt idx="0">
                  <c:v>0.86541835216386764</c:v>
                </c:pt>
                <c:pt idx="1">
                  <c:v>0.72612724210611224</c:v>
                </c:pt>
                <c:pt idx="2">
                  <c:v>0.63277171476940353</c:v>
                </c:pt>
                <c:pt idx="3">
                  <c:v>0.57315672089574743</c:v>
                </c:pt>
                <c:pt idx="4">
                  <c:v>0.53710800964629024</c:v>
                </c:pt>
                <c:pt idx="5">
                  <c:v>0.51263968361807999</c:v>
                </c:pt>
                <c:pt idx="6">
                  <c:v>0.49729058994311831</c:v>
                </c:pt>
                <c:pt idx="7">
                  <c:v>0.4711584337562918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A8E4-4064-8163-1D5DF3E4C297}"/>
            </c:ext>
          </c:extLst>
        </c:ser>
        <c:ser>
          <c:idx val="3"/>
          <c:order val="3"/>
          <c:tx>
            <c:strRef>
              <c:f>'temp-Lond'!$Q$5</c:f>
              <c:strCache>
                <c:ptCount val="1"/>
                <c:pt idx="0">
                  <c:v>ΣΜ10</c:v>
                </c:pt>
              </c:strCache>
            </c:strRef>
          </c:tx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x"/>
            <c:size val="6"/>
            <c:spPr>
              <a:noFill/>
              <a:ln w="9525">
                <a:solidFill>
                  <a:schemeClr val="accent4"/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5:$Y$5</c:f>
              <c:numCache>
                <c:formatCode>General</c:formatCode>
                <c:ptCount val="8"/>
                <c:pt idx="0">
                  <c:v>0.86639452883377377</c:v>
                </c:pt>
                <c:pt idx="1">
                  <c:v>0.73076907624805865</c:v>
                </c:pt>
                <c:pt idx="2">
                  <c:v>0.64380196445010662</c:v>
                </c:pt>
                <c:pt idx="3">
                  <c:v>0.59091448301542548</c:v>
                </c:pt>
                <c:pt idx="4">
                  <c:v>0.51925542155671955</c:v>
                </c:pt>
                <c:pt idx="5">
                  <c:v>0.49590709283097822</c:v>
                </c:pt>
                <c:pt idx="6">
                  <c:v>0.47763106870738276</c:v>
                </c:pt>
                <c:pt idx="7">
                  <c:v>0.4572307035986498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A8E4-4064-8163-1D5DF3E4C297}"/>
            </c:ext>
          </c:extLst>
        </c:ser>
        <c:ser>
          <c:idx val="4"/>
          <c:order val="4"/>
          <c:tx>
            <c:strRef>
              <c:f>'temp-Lond'!$Q$6</c:f>
              <c:strCache>
                <c:ptCount val="1"/>
                <c:pt idx="0">
                  <c:v>ΣΜ24</c:v>
                </c:pt>
              </c:strCache>
            </c:strRef>
          </c:tx>
          <c:spPr>
            <a:ln w="22225" cap="rnd">
              <a:solidFill>
                <a:schemeClr val="accent5"/>
              </a:solidFill>
              <a:round/>
            </a:ln>
            <a:effectLst/>
          </c:spPr>
          <c:marker>
            <c:symbol val="star"/>
            <c:size val="6"/>
            <c:spPr>
              <a:noFill/>
              <a:ln w="9525">
                <a:solidFill>
                  <a:schemeClr val="accent5"/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6:$Y$6</c:f>
              <c:numCache>
                <c:formatCode>General</c:formatCode>
                <c:ptCount val="8"/>
                <c:pt idx="0">
                  <c:v>0.86855263692490225</c:v>
                </c:pt>
                <c:pt idx="1">
                  <c:v>0.73987031486388966</c:v>
                </c:pt>
                <c:pt idx="2">
                  <c:v>0.65679536147115281</c:v>
                </c:pt>
                <c:pt idx="3">
                  <c:v>0.5984912796079882</c:v>
                </c:pt>
                <c:pt idx="4">
                  <c:v>0.53468516440592939</c:v>
                </c:pt>
                <c:pt idx="5">
                  <c:v>0.51053199698537854</c:v>
                </c:pt>
                <c:pt idx="6">
                  <c:v>0.47637972406232332</c:v>
                </c:pt>
                <c:pt idx="7">
                  <c:v>0.439504470433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A8E4-4064-8163-1D5DF3E4C297}"/>
            </c:ext>
          </c:extLst>
        </c:ser>
        <c:ser>
          <c:idx val="5"/>
          <c:order val="5"/>
          <c:tx>
            <c:strRef>
              <c:f>'temp-Lond'!$Q$7</c:f>
              <c:strCache>
                <c:ptCount val="1"/>
                <c:pt idx="0">
                  <c:v>ΑΜ</c:v>
                </c:pt>
              </c:strCache>
            </c:strRef>
          </c:tx>
          <c:spPr>
            <a:ln w="2222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7:$Y$7</c:f>
              <c:numCache>
                <c:formatCode>General</c:formatCode>
                <c:ptCount val="8"/>
                <c:pt idx="0">
                  <c:v>0.83515728433893355</c:v>
                </c:pt>
                <c:pt idx="1">
                  <c:v>0.70779928628753819</c:v>
                </c:pt>
                <c:pt idx="2">
                  <c:v>0.62156926613454133</c:v>
                </c:pt>
                <c:pt idx="3">
                  <c:v>0.57162179135266833</c:v>
                </c:pt>
                <c:pt idx="4">
                  <c:v>0.53994291856176269</c:v>
                </c:pt>
                <c:pt idx="5">
                  <c:v>0.51819174849066429</c:v>
                </c:pt>
                <c:pt idx="6">
                  <c:v>0.49757925121465352</c:v>
                </c:pt>
                <c:pt idx="7">
                  <c:v>0.4689537880563036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A8E4-4064-8163-1D5DF3E4C297}"/>
            </c:ext>
          </c:extLst>
        </c:ser>
        <c:ser>
          <c:idx val="6"/>
          <c:order val="6"/>
          <c:tx>
            <c:strRef>
              <c:f>'temp-Lond'!$Q$8</c:f>
              <c:strCache>
                <c:ptCount val="1"/>
                <c:pt idx="0">
                  <c:v>ΜΠ</c:v>
                </c:pt>
              </c:strCache>
            </c:strRef>
          </c:tx>
          <c:spPr>
            <a:ln w="222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plus"/>
            <c:size val="6"/>
            <c:spPr>
              <a:noFill/>
              <a:ln w="9525">
                <a:solidFill>
                  <a:schemeClr val="accent1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8:$Y$8</c:f>
              <c:numCache>
                <c:formatCode>0.000</c:formatCode>
                <c:ptCount val="8"/>
                <c:pt idx="0">
                  <c:v>0.14766500958078621</c:v>
                </c:pt>
                <c:pt idx="1">
                  <c:v>5.6171970868102106E-2</c:v>
                </c:pt>
                <c:pt idx="2">
                  <c:v>6.7384999407935534E-2</c:v>
                </c:pt>
                <c:pt idx="3">
                  <c:v>0.1641336537642985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A8E4-4064-8163-1D5DF3E4C297}"/>
            </c:ext>
          </c:extLst>
        </c:ser>
        <c:ser>
          <c:idx val="7"/>
          <c:order val="7"/>
          <c:tx>
            <c:strRef>
              <c:f>'temp-Lond'!$Q$9</c:f>
              <c:strCache>
                <c:ptCount val="1"/>
                <c:pt idx="0">
                  <c:v>ΣΠΜ1</c:v>
                </c:pt>
              </c:strCache>
            </c:strRef>
          </c:tx>
          <c:spPr>
            <a:ln w="222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dot"/>
            <c:size val="6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9:$Y$9</c:f>
              <c:numCache>
                <c:formatCode>0.000</c:formatCode>
                <c:ptCount val="8"/>
                <c:pt idx="0">
                  <c:v>0.90063326783390452</c:v>
                </c:pt>
                <c:pt idx="1">
                  <c:v>0.76234494254811469</c:v>
                </c:pt>
                <c:pt idx="2">
                  <c:v>0.73059959804777563</c:v>
                </c:pt>
                <c:pt idx="3">
                  <c:v>0.687953937955993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A8E4-4064-8163-1D5DF3E4C297}"/>
            </c:ext>
          </c:extLst>
        </c:ser>
        <c:ser>
          <c:idx val="8"/>
          <c:order val="8"/>
          <c:tx>
            <c:strRef>
              <c:f>'temp-Lond'!$Q$10</c:f>
              <c:strCache>
                <c:ptCount val="1"/>
                <c:pt idx="0">
                  <c:v>ΣΠΜ10</c:v>
                </c:pt>
              </c:strCache>
            </c:strRef>
          </c:tx>
          <c:spPr>
            <a:ln w="222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dash"/>
            <c:size val="6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10:$Y$10</c:f>
              <c:numCache>
                <c:formatCode>0.000</c:formatCode>
                <c:ptCount val="8"/>
                <c:pt idx="0">
                  <c:v>0.91233510066996559</c:v>
                </c:pt>
                <c:pt idx="1">
                  <c:v>0.67386094288182263</c:v>
                </c:pt>
                <c:pt idx="2">
                  <c:v>0.65754765733937937</c:v>
                </c:pt>
                <c:pt idx="3">
                  <c:v>0.6373175914722627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A8E4-4064-8163-1D5DF3E4C297}"/>
            </c:ext>
          </c:extLst>
        </c:ser>
        <c:ser>
          <c:idx val="9"/>
          <c:order val="9"/>
          <c:tx>
            <c:strRef>
              <c:f>'temp-Lond'!$Q$11</c:f>
              <c:strCache>
                <c:ptCount val="1"/>
                <c:pt idx="0">
                  <c:v>ΣΠΜ24</c:v>
                </c:pt>
              </c:strCache>
            </c:strRef>
          </c:tx>
          <c:spPr>
            <a:ln w="222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11:$Y$11</c:f>
              <c:numCache>
                <c:formatCode>0.000</c:formatCode>
                <c:ptCount val="8"/>
                <c:pt idx="0">
                  <c:v>0.91332884789502389</c:v>
                </c:pt>
                <c:pt idx="1">
                  <c:v>0.73170844196565321</c:v>
                </c:pt>
                <c:pt idx="2">
                  <c:v>0.70065105680868511</c:v>
                </c:pt>
                <c:pt idx="3">
                  <c:v>0.665601710630901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A8E4-4064-8163-1D5DF3E4C297}"/>
            </c:ext>
          </c:extLst>
        </c:ser>
        <c:ser>
          <c:idx val="10"/>
          <c:order val="10"/>
          <c:tx>
            <c:strRef>
              <c:f>'temp-Lond'!$Q$12</c:f>
              <c:strCache>
                <c:ptCount val="1"/>
                <c:pt idx="0">
                  <c:v>ΣΠΑΜ</c:v>
                </c:pt>
              </c:strCache>
            </c:strRef>
          </c:tx>
          <c:spPr>
            <a:ln w="222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Lond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Lond'!$R$12:$Y$12</c:f>
              <c:numCache>
                <c:formatCode>0.000</c:formatCode>
                <c:ptCount val="8"/>
                <c:pt idx="0">
                  <c:v>0.87558242522874041</c:v>
                </c:pt>
                <c:pt idx="1">
                  <c:v>0.79851498505087259</c:v>
                </c:pt>
                <c:pt idx="2">
                  <c:v>0.7424630060456946</c:v>
                </c:pt>
                <c:pt idx="3">
                  <c:v>0.684064216602590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A8E4-4064-8163-1D5DF3E4C2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7037312"/>
        <c:axId val="177038848"/>
      </c:scatterChart>
      <c:valAx>
        <c:axId val="177037312"/>
        <c:scaling>
          <c:orientation val="minMax"/>
          <c:max val="2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χρονικο βαθος προγνωσης</a:t>
                </a:r>
                <a:endParaRPr lang="el-G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77038848"/>
        <c:crosses val="autoZero"/>
        <c:crossBetween val="midCat"/>
        <c:majorUnit val="4"/>
      </c:valAx>
      <c:valAx>
        <c:axId val="1770388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συντελεστης αποδοσησ </a:t>
                </a:r>
                <a:r>
                  <a:rPr lang="en-US" sz="900" b="0" i="0" cap="all" baseline="0">
                    <a:effectLst/>
                  </a:rPr>
                  <a:t>nash-sutcliffe</a:t>
                </a:r>
                <a:endParaRPr lang="el-G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7703731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solidFill>
        <a:srgbClr val="00B050"/>
      </a:solidFill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'temp-Melb'!$Q$2</c:f>
              <c:strCache>
                <c:ptCount val="1"/>
                <c:pt idx="0">
                  <c:v>Β1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2:$Y$2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023-40EB-9062-2F5C8E933B43}"/>
            </c:ext>
          </c:extLst>
        </c:ser>
        <c:ser>
          <c:idx val="1"/>
          <c:order val="1"/>
          <c:tx>
            <c:strRef>
              <c:f>'temp-Melb'!$Q$3</c:f>
              <c:strCache>
                <c:ptCount val="1"/>
                <c:pt idx="0">
                  <c:v>Β2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3:$Y$3</c:f>
              <c:numCache>
                <c:formatCode>General</c:formatCode>
                <c:ptCount val="8"/>
                <c:pt idx="0">
                  <c:v>0.71150551623133262</c:v>
                </c:pt>
                <c:pt idx="1">
                  <c:v>0.44284677094155722</c:v>
                </c:pt>
                <c:pt idx="2">
                  <c:v>0.23484950274290398</c:v>
                </c:pt>
                <c:pt idx="3">
                  <c:v>0.10151952520654828</c:v>
                </c:pt>
                <c:pt idx="4">
                  <c:v>2.7157627696984401E-2</c:v>
                </c:pt>
                <c:pt idx="5">
                  <c:v>-6.9751814591012692E-4</c:v>
                </c:pt>
                <c:pt idx="6">
                  <c:v>-7.1101748636454076E-2</c:v>
                </c:pt>
                <c:pt idx="7">
                  <c:v>-0.1341057286920116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023-40EB-9062-2F5C8E933B43}"/>
            </c:ext>
          </c:extLst>
        </c:ser>
        <c:ser>
          <c:idx val="2"/>
          <c:order val="2"/>
          <c:tx>
            <c:strRef>
              <c:f>'temp-Melb'!$Q$4</c:f>
              <c:strCache>
                <c:ptCount val="1"/>
                <c:pt idx="0">
                  <c:v>ΣΜ1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4:$Y$4</c:f>
              <c:numCache>
                <c:formatCode>General</c:formatCode>
                <c:ptCount val="8"/>
                <c:pt idx="0">
                  <c:v>0.73274698236474345</c:v>
                </c:pt>
                <c:pt idx="1">
                  <c:v>0.52311028112416058</c:v>
                </c:pt>
                <c:pt idx="2">
                  <c:v>0.38524362980635785</c:v>
                </c:pt>
                <c:pt idx="3">
                  <c:v>0.30867125582590182</c:v>
                </c:pt>
                <c:pt idx="4">
                  <c:v>0.27020423742147726</c:v>
                </c:pt>
                <c:pt idx="5">
                  <c:v>0.25533472868610224</c:v>
                </c:pt>
                <c:pt idx="6">
                  <c:v>0.2239639713777889</c:v>
                </c:pt>
                <c:pt idx="7">
                  <c:v>0.1962215957647886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023-40EB-9062-2F5C8E933B43}"/>
            </c:ext>
          </c:extLst>
        </c:ser>
        <c:ser>
          <c:idx val="3"/>
          <c:order val="3"/>
          <c:tx>
            <c:strRef>
              <c:f>'temp-Melb'!$Q$5</c:f>
              <c:strCache>
                <c:ptCount val="1"/>
                <c:pt idx="0">
                  <c:v>ΣΜ10</c:v>
                </c:pt>
              </c:strCache>
            </c:strRef>
          </c:tx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x"/>
            <c:size val="6"/>
            <c:spPr>
              <a:noFill/>
              <a:ln w="9525">
                <a:solidFill>
                  <a:schemeClr val="accent4"/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5:$Y$5</c:f>
              <c:numCache>
                <c:formatCode>General</c:formatCode>
                <c:ptCount val="8"/>
                <c:pt idx="0">
                  <c:v>0.7334843628491361</c:v>
                </c:pt>
                <c:pt idx="1">
                  <c:v>0.52970587652178225</c:v>
                </c:pt>
                <c:pt idx="2">
                  <c:v>0.40493858303800406</c:v>
                </c:pt>
                <c:pt idx="3">
                  <c:v>0.33252291135638706</c:v>
                </c:pt>
                <c:pt idx="4">
                  <c:v>0.28277274358594812</c:v>
                </c:pt>
                <c:pt idx="5">
                  <c:v>0.26038630849988564</c:v>
                </c:pt>
                <c:pt idx="6">
                  <c:v>0.22259384069769494</c:v>
                </c:pt>
                <c:pt idx="7">
                  <c:v>0.194042523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4023-40EB-9062-2F5C8E933B43}"/>
            </c:ext>
          </c:extLst>
        </c:ser>
        <c:ser>
          <c:idx val="4"/>
          <c:order val="4"/>
          <c:tx>
            <c:strRef>
              <c:f>'temp-Melb'!$Q$6</c:f>
              <c:strCache>
                <c:ptCount val="1"/>
                <c:pt idx="0">
                  <c:v>ΣΜ24</c:v>
                </c:pt>
              </c:strCache>
            </c:strRef>
          </c:tx>
          <c:spPr>
            <a:ln w="22225" cap="rnd">
              <a:solidFill>
                <a:schemeClr val="accent5"/>
              </a:solidFill>
              <a:round/>
            </a:ln>
            <a:effectLst/>
          </c:spPr>
          <c:marker>
            <c:symbol val="star"/>
            <c:size val="6"/>
            <c:spPr>
              <a:noFill/>
              <a:ln w="9525">
                <a:solidFill>
                  <a:schemeClr val="accent5"/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6:$Y$6</c:f>
              <c:numCache>
                <c:formatCode>General</c:formatCode>
                <c:ptCount val="8"/>
                <c:pt idx="0">
                  <c:v>0.7369598710619697</c:v>
                </c:pt>
                <c:pt idx="1">
                  <c:v>0.5365939017335345</c:v>
                </c:pt>
                <c:pt idx="2">
                  <c:v>0.40904303674597575</c:v>
                </c:pt>
                <c:pt idx="3">
                  <c:v>0.3355799882882608</c:v>
                </c:pt>
                <c:pt idx="4">
                  <c:v>0.28876291275721938</c:v>
                </c:pt>
                <c:pt idx="5">
                  <c:v>0.25993549791534742</c:v>
                </c:pt>
                <c:pt idx="6">
                  <c:v>0.22471802279744232</c:v>
                </c:pt>
                <c:pt idx="7">
                  <c:v>0.192618231615262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4023-40EB-9062-2F5C8E933B43}"/>
            </c:ext>
          </c:extLst>
        </c:ser>
        <c:ser>
          <c:idx val="5"/>
          <c:order val="5"/>
          <c:tx>
            <c:strRef>
              <c:f>'temp-Melb'!$Q$7</c:f>
              <c:strCache>
                <c:ptCount val="1"/>
                <c:pt idx="0">
                  <c:v>ΑΜ</c:v>
                </c:pt>
              </c:strCache>
            </c:strRef>
          </c:tx>
          <c:spPr>
            <a:ln w="2222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7:$Y$7</c:f>
              <c:numCache>
                <c:formatCode>General</c:formatCode>
                <c:ptCount val="8"/>
                <c:pt idx="0">
                  <c:v>0.70011411367891663</c:v>
                </c:pt>
                <c:pt idx="1">
                  <c:v>0.50694276070153677</c:v>
                </c:pt>
                <c:pt idx="2">
                  <c:v>0.37342917872456477</c:v>
                </c:pt>
                <c:pt idx="3">
                  <c:v>0.30028462504818482</c:v>
                </c:pt>
                <c:pt idx="4">
                  <c:v>0.2634048626216649</c:v>
                </c:pt>
                <c:pt idx="5">
                  <c:v>0.23103501276643498</c:v>
                </c:pt>
                <c:pt idx="6">
                  <c:v>0.1931043992942422</c:v>
                </c:pt>
                <c:pt idx="7">
                  <c:v>0.152559410712177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4023-40EB-9062-2F5C8E933B43}"/>
            </c:ext>
          </c:extLst>
        </c:ser>
        <c:ser>
          <c:idx val="6"/>
          <c:order val="6"/>
          <c:tx>
            <c:strRef>
              <c:f>'temp-Melb'!$Q$8</c:f>
              <c:strCache>
                <c:ptCount val="1"/>
                <c:pt idx="0">
                  <c:v>ΜΠ</c:v>
                </c:pt>
              </c:strCache>
            </c:strRef>
          </c:tx>
          <c:spPr>
            <a:ln w="222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plus"/>
            <c:size val="6"/>
            <c:spPr>
              <a:noFill/>
              <a:ln w="9525">
                <a:solidFill>
                  <a:schemeClr val="accent1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8:$Y$8</c:f>
              <c:numCache>
                <c:formatCode>0.000</c:formatCode>
                <c:ptCount val="8"/>
                <c:pt idx="0">
                  <c:v>-0.15780453991898713</c:v>
                </c:pt>
                <c:pt idx="1">
                  <c:v>-0.92726934086070656</c:v>
                </c:pt>
                <c:pt idx="2">
                  <c:v>-0.23475807307813534</c:v>
                </c:pt>
                <c:pt idx="3">
                  <c:v>-1.066043606132026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4023-40EB-9062-2F5C8E933B43}"/>
            </c:ext>
          </c:extLst>
        </c:ser>
        <c:ser>
          <c:idx val="7"/>
          <c:order val="7"/>
          <c:tx>
            <c:strRef>
              <c:f>'temp-Melb'!$Q$9</c:f>
              <c:strCache>
                <c:ptCount val="1"/>
                <c:pt idx="0">
                  <c:v>ΣΠΜ1</c:v>
                </c:pt>
              </c:strCache>
            </c:strRef>
          </c:tx>
          <c:spPr>
            <a:ln w="222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dot"/>
            <c:size val="6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9:$Y$9</c:f>
              <c:numCache>
                <c:formatCode>0.000</c:formatCode>
                <c:ptCount val="8"/>
                <c:pt idx="0">
                  <c:v>0.72736788940637498</c:v>
                </c:pt>
                <c:pt idx="1">
                  <c:v>0.46521229219543958</c:v>
                </c:pt>
                <c:pt idx="2">
                  <c:v>0.4261283812355689</c:v>
                </c:pt>
                <c:pt idx="3">
                  <c:v>0.4523174362923412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4023-40EB-9062-2F5C8E933B43}"/>
            </c:ext>
          </c:extLst>
        </c:ser>
        <c:ser>
          <c:idx val="8"/>
          <c:order val="8"/>
          <c:tx>
            <c:strRef>
              <c:f>'temp-Melb'!$Q$10</c:f>
              <c:strCache>
                <c:ptCount val="1"/>
                <c:pt idx="0">
                  <c:v>ΣΠΜ10</c:v>
                </c:pt>
              </c:strCache>
            </c:strRef>
          </c:tx>
          <c:spPr>
            <a:ln w="222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dash"/>
            <c:size val="6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10:$Y$10</c:f>
              <c:numCache>
                <c:formatCode>0.000</c:formatCode>
                <c:ptCount val="8"/>
                <c:pt idx="0">
                  <c:v>0.73720974482693746</c:v>
                </c:pt>
                <c:pt idx="1">
                  <c:v>0.40702458150060727</c:v>
                </c:pt>
                <c:pt idx="2">
                  <c:v>0.38213157502376682</c:v>
                </c:pt>
                <c:pt idx="3">
                  <c:v>0.404887871950373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4023-40EB-9062-2F5C8E933B43}"/>
            </c:ext>
          </c:extLst>
        </c:ser>
        <c:ser>
          <c:idx val="9"/>
          <c:order val="9"/>
          <c:tx>
            <c:strRef>
              <c:f>'temp-Melb'!$Q$11</c:f>
              <c:strCache>
                <c:ptCount val="1"/>
                <c:pt idx="0">
                  <c:v>ΣΠΜ24</c:v>
                </c:pt>
              </c:strCache>
            </c:strRef>
          </c:tx>
          <c:spPr>
            <a:ln w="222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11:$Y$11</c:f>
              <c:numCache>
                <c:formatCode>0.000</c:formatCode>
                <c:ptCount val="8"/>
                <c:pt idx="0">
                  <c:v>0.74382091728003619</c:v>
                </c:pt>
                <c:pt idx="1">
                  <c:v>0.41765901510086406</c:v>
                </c:pt>
                <c:pt idx="2">
                  <c:v>0.39334412112749961</c:v>
                </c:pt>
                <c:pt idx="3">
                  <c:v>0.417271274687459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4023-40EB-9062-2F5C8E933B43}"/>
            </c:ext>
          </c:extLst>
        </c:ser>
        <c:ser>
          <c:idx val="10"/>
          <c:order val="10"/>
          <c:tx>
            <c:strRef>
              <c:f>'temp-Melb'!$Q$12</c:f>
              <c:strCache>
                <c:ptCount val="1"/>
                <c:pt idx="0">
                  <c:v>ΣΠΑΜ</c:v>
                </c:pt>
              </c:strCache>
            </c:strRef>
          </c:tx>
          <c:spPr>
            <a:ln w="222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'temp-Melb'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-Melb'!$R$12:$Y$12</c:f>
              <c:numCache>
                <c:formatCode>0.000</c:formatCode>
                <c:ptCount val="8"/>
                <c:pt idx="0">
                  <c:v>0.67372327775206364</c:v>
                </c:pt>
                <c:pt idx="1">
                  <c:v>0.57742317461311865</c:v>
                </c:pt>
                <c:pt idx="2">
                  <c:v>0.48598771748842945</c:v>
                </c:pt>
                <c:pt idx="3">
                  <c:v>0.4585602622881935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4023-40EB-9062-2F5C8E933B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7645440"/>
        <c:axId val="177651712"/>
      </c:scatterChart>
      <c:valAx>
        <c:axId val="177645440"/>
        <c:scaling>
          <c:orientation val="minMax"/>
          <c:max val="2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χρονικο βαθος προγνωσης</a:t>
                </a:r>
                <a:endParaRPr lang="el-G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77651712"/>
        <c:crosses val="autoZero"/>
        <c:crossBetween val="midCat"/>
        <c:majorUnit val="4"/>
      </c:valAx>
      <c:valAx>
        <c:axId val="1776517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συντελεστης αποδοσησ </a:t>
                </a:r>
                <a:r>
                  <a:rPr lang="en-US" sz="900" b="0" i="0" cap="all" baseline="0">
                    <a:effectLst/>
                  </a:rPr>
                  <a:t>nash-sutcliffe</a:t>
                </a:r>
                <a:endParaRPr lang="el-G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776454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solidFill>
        <a:srgbClr val="0070C0"/>
      </a:solidFill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9940447186458"/>
          <c:y val="2.5843723169273053E-2"/>
          <c:w val="0.86372302727750305"/>
          <c:h val="0.72948976671485499"/>
        </c:manualLayout>
      </c:layout>
      <c:scatterChart>
        <c:scatterStyle val="lineMarker"/>
        <c:varyColors val="0"/>
        <c:ser>
          <c:idx val="0"/>
          <c:order val="0"/>
          <c:tx>
            <c:strRef>
              <c:f>'temp ΣΠ24'!$A$3</c:f>
              <c:strCache>
                <c:ptCount val="1"/>
                <c:pt idx="0">
                  <c:v>Αττική ΣΜ24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xVal>
            <c:numRef>
              <c:f>'temp ΣΠ24'!$B$2:$I$2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 ΣΠ24'!$B$3:$I$3</c:f>
              <c:numCache>
                <c:formatCode>General</c:formatCode>
                <c:ptCount val="8"/>
                <c:pt idx="0">
                  <c:v>0.676256450289901</c:v>
                </c:pt>
                <c:pt idx="1">
                  <c:v>0.53299352406052092</c:v>
                </c:pt>
                <c:pt idx="2">
                  <c:v>0.45223961044999073</c:v>
                </c:pt>
                <c:pt idx="3">
                  <c:v>0.41393656549941843</c:v>
                </c:pt>
                <c:pt idx="4">
                  <c:v>0.39553978175470206</c:v>
                </c:pt>
                <c:pt idx="5">
                  <c:v>0.3872650565545418</c:v>
                </c:pt>
                <c:pt idx="6">
                  <c:v>0.37313699567350134</c:v>
                </c:pt>
                <c:pt idx="7">
                  <c:v>0.3401729250994966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FD7-465D-AE35-02B5D20FD32A}"/>
            </c:ext>
          </c:extLst>
        </c:ser>
        <c:ser>
          <c:idx val="1"/>
          <c:order val="1"/>
          <c:tx>
            <c:strRef>
              <c:f>'temp ΣΠ24'!$A$4</c:f>
              <c:strCache>
                <c:ptCount val="1"/>
                <c:pt idx="0">
                  <c:v>Λονδίνο ΣΜ24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xVal>
            <c:numRef>
              <c:f>'temp ΣΠ24'!$B$2:$I$2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 ΣΠ24'!$B$4:$I$4</c:f>
              <c:numCache>
                <c:formatCode>General</c:formatCode>
                <c:ptCount val="8"/>
                <c:pt idx="0">
                  <c:v>0.86855263692490225</c:v>
                </c:pt>
                <c:pt idx="1">
                  <c:v>0.73987031486388966</c:v>
                </c:pt>
                <c:pt idx="2">
                  <c:v>0.65679536147115281</c:v>
                </c:pt>
                <c:pt idx="3">
                  <c:v>0.5984912796079882</c:v>
                </c:pt>
                <c:pt idx="4">
                  <c:v>0.53468516440592939</c:v>
                </c:pt>
                <c:pt idx="5">
                  <c:v>0.51053199698537854</c:v>
                </c:pt>
                <c:pt idx="6">
                  <c:v>0.47637972406232332</c:v>
                </c:pt>
                <c:pt idx="7">
                  <c:v>0.439504470433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FD7-465D-AE35-02B5D20FD32A}"/>
            </c:ext>
          </c:extLst>
        </c:ser>
        <c:ser>
          <c:idx val="2"/>
          <c:order val="2"/>
          <c:tx>
            <c:strRef>
              <c:f>'temp ΣΠ24'!$A$5</c:f>
              <c:strCache>
                <c:ptCount val="1"/>
                <c:pt idx="0">
                  <c:v>Μελβούρνη ΣΜ24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xVal>
            <c:numRef>
              <c:f>'temp ΣΠ24'!$B$2:$I$2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 ΣΠ24'!$B$5:$I$5</c:f>
              <c:numCache>
                <c:formatCode>General</c:formatCode>
                <c:ptCount val="8"/>
                <c:pt idx="0">
                  <c:v>0.7369598710619697</c:v>
                </c:pt>
                <c:pt idx="1">
                  <c:v>0.5365939017335345</c:v>
                </c:pt>
                <c:pt idx="2">
                  <c:v>0.40904303674597575</c:v>
                </c:pt>
                <c:pt idx="3">
                  <c:v>0.3355799882882608</c:v>
                </c:pt>
                <c:pt idx="4">
                  <c:v>0.28876291275721938</c:v>
                </c:pt>
                <c:pt idx="5">
                  <c:v>0.25993549791534742</c:v>
                </c:pt>
                <c:pt idx="6">
                  <c:v>0.22471802279744232</c:v>
                </c:pt>
                <c:pt idx="7">
                  <c:v>0.1926182316152624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FFD7-465D-AE35-02B5D20FD32A}"/>
            </c:ext>
          </c:extLst>
        </c:ser>
        <c:ser>
          <c:idx val="3"/>
          <c:order val="3"/>
          <c:tx>
            <c:strRef>
              <c:f>'temp ΣΠ24'!$A$6</c:f>
              <c:strCache>
                <c:ptCount val="1"/>
                <c:pt idx="0">
                  <c:v>Νέα Υόρκη ΣΜ24</c:v>
                </c:pt>
              </c:strCache>
            </c:strRef>
          </c:tx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x"/>
            <c:size val="6"/>
            <c:spPr>
              <a:noFill/>
              <a:ln w="9525">
                <a:solidFill>
                  <a:schemeClr val="accent4"/>
                </a:solidFill>
                <a:round/>
              </a:ln>
              <a:effectLst/>
            </c:spPr>
          </c:marker>
          <c:xVal>
            <c:numRef>
              <c:f>'temp ΣΠ24'!$B$2:$I$2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temp ΣΠ24'!$B$6:$I$6</c:f>
              <c:numCache>
                <c:formatCode>General</c:formatCode>
                <c:ptCount val="8"/>
                <c:pt idx="0">
                  <c:v>0.89428037311789998</c:v>
                </c:pt>
                <c:pt idx="1">
                  <c:v>0.76715203885642014</c:v>
                </c:pt>
                <c:pt idx="2">
                  <c:v>0.65181912789861585</c:v>
                </c:pt>
                <c:pt idx="3">
                  <c:v>0.55848253299828809</c:v>
                </c:pt>
                <c:pt idx="4">
                  <c:v>0.48393230809821286</c:v>
                </c:pt>
                <c:pt idx="5">
                  <c:v>0.42443892077403489</c:v>
                </c:pt>
                <c:pt idx="6">
                  <c:v>0.37168182977949593</c:v>
                </c:pt>
                <c:pt idx="7">
                  <c:v>0.3217790184133647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FFD7-465D-AE35-02B5D20FD3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3799040"/>
        <c:axId val="163800960"/>
      </c:scatterChart>
      <c:valAx>
        <c:axId val="163799040"/>
        <c:scaling>
          <c:orientation val="minMax"/>
          <c:max val="2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ΧΡΟΝΙΚΟ ΒΑΘΟΣ ΠΡΟΓΝΩΣΗΣ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3800960"/>
        <c:crosses val="autoZero"/>
        <c:crossBetween val="midCat"/>
        <c:majorUnit val="4"/>
      </c:valAx>
      <c:valAx>
        <c:axId val="163800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ΣΥΝΤΕΛΕΣΤΗΣ ΑΠΟΔΟΣΗΣ </a:t>
                </a:r>
                <a:r>
                  <a:rPr lang="en-US"/>
                  <a:t>NASH</a:t>
                </a:r>
                <a:r>
                  <a:rPr lang="el-GR"/>
                  <a:t>-</a:t>
                </a:r>
                <a:r>
                  <a:rPr lang="en-US"/>
                  <a:t>SUTCLIfFE</a:t>
                </a:r>
                <a:endParaRPr lang="el-GR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379904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9999905200869867E-2"/>
          <c:y val="0.92239983208261955"/>
          <c:w val="0.9"/>
          <c:h val="7.76001679173817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rgbClr val="FF0000"/>
      </a:solidFill>
      <a:round/>
    </a:ln>
    <a:effectLst/>
  </c:spPr>
  <c:txPr>
    <a:bodyPr/>
    <a:lstStyle/>
    <a:p>
      <a:pPr>
        <a:defRPr sz="900"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1782489083882"/>
          <c:y val="2.404962589836929E-2"/>
          <c:w val="0.86853882308775932"/>
          <c:h val="0.71944116681194759"/>
        </c:manualLayout>
      </c:layout>
      <c:scatterChart>
        <c:scatterStyle val="lineMarker"/>
        <c:varyColors val="0"/>
        <c:ser>
          <c:idx val="0"/>
          <c:order val="0"/>
          <c:tx>
            <c:strRef>
              <c:f>'wind ΣΠ24'!$A$3</c:f>
              <c:strCache>
                <c:ptCount val="1"/>
                <c:pt idx="0">
                  <c:v>Αττική ΣΜ24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xVal>
            <c:numRef>
              <c:f>'wind ΣΠ24'!$B$2:$I$2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wind ΣΠ24'!$B$3:$I$3</c:f>
              <c:numCache>
                <c:formatCode>General</c:formatCode>
                <c:ptCount val="8"/>
                <c:pt idx="0">
                  <c:v>0.60249151739214202</c:v>
                </c:pt>
                <c:pt idx="1">
                  <c:v>0.44703277492947852</c:v>
                </c:pt>
                <c:pt idx="2">
                  <c:v>0.35318237057676632</c:v>
                </c:pt>
                <c:pt idx="3">
                  <c:v>0.28833074157405647</c:v>
                </c:pt>
                <c:pt idx="4">
                  <c:v>0.24032552632039939</c:v>
                </c:pt>
                <c:pt idx="5">
                  <c:v>0.21289463042979573</c:v>
                </c:pt>
                <c:pt idx="6">
                  <c:v>0.17784414541640087</c:v>
                </c:pt>
                <c:pt idx="7">
                  <c:v>0.1333610882354017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2E7-4F6A-A80E-7CA15208C4FE}"/>
            </c:ext>
          </c:extLst>
        </c:ser>
        <c:ser>
          <c:idx val="1"/>
          <c:order val="1"/>
          <c:tx>
            <c:strRef>
              <c:f>'wind ΣΠ24'!$A$4</c:f>
              <c:strCache>
                <c:ptCount val="1"/>
                <c:pt idx="0">
                  <c:v>Λονδίνο ΣΜ24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xVal>
            <c:numRef>
              <c:f>'wind ΣΠ24'!$B$2:$I$2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wind ΣΠ24'!$B$4:$I$4</c:f>
              <c:numCache>
                <c:formatCode>General</c:formatCode>
                <c:ptCount val="8"/>
                <c:pt idx="0">
                  <c:v>0.61194611382470021</c:v>
                </c:pt>
                <c:pt idx="1">
                  <c:v>0.42601174078257031</c:v>
                </c:pt>
                <c:pt idx="2">
                  <c:v>0.30347125963184957</c:v>
                </c:pt>
                <c:pt idx="3">
                  <c:v>0.22582797644426889</c:v>
                </c:pt>
                <c:pt idx="4">
                  <c:v>0.16953702226591838</c:v>
                </c:pt>
                <c:pt idx="5">
                  <c:v>0.14297018783331689</c:v>
                </c:pt>
                <c:pt idx="6">
                  <c:v>0.12040913095720376</c:v>
                </c:pt>
                <c:pt idx="7">
                  <c:v>9.7706843434116245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82E7-4F6A-A80E-7CA15208C4FE}"/>
            </c:ext>
          </c:extLst>
        </c:ser>
        <c:ser>
          <c:idx val="2"/>
          <c:order val="2"/>
          <c:tx>
            <c:strRef>
              <c:f>'wind ΣΠ24'!$A$5</c:f>
              <c:strCache>
                <c:ptCount val="1"/>
                <c:pt idx="0">
                  <c:v>Μελβούρνη ΣΜ24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xVal>
            <c:numRef>
              <c:f>'wind ΣΠ24'!$B$2:$I$2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wind ΣΠ24'!$B$5:$I$5</c:f>
              <c:numCache>
                <c:formatCode>General</c:formatCode>
                <c:ptCount val="8"/>
                <c:pt idx="0">
                  <c:v>0.49357933746765348</c:v>
                </c:pt>
                <c:pt idx="1">
                  <c:v>0.28725293342376945</c:v>
                </c:pt>
                <c:pt idx="2">
                  <c:v>0.17564721079445594</c:v>
                </c:pt>
                <c:pt idx="3">
                  <c:v>0.11356006259327123</c:v>
                </c:pt>
                <c:pt idx="4">
                  <c:v>7.5931919902610112E-2</c:v>
                </c:pt>
                <c:pt idx="5">
                  <c:v>5.5054622088621934E-2</c:v>
                </c:pt>
                <c:pt idx="6">
                  <c:v>4.0252064883876344E-2</c:v>
                </c:pt>
                <c:pt idx="7">
                  <c:v>2.691344604611213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82E7-4F6A-A80E-7CA15208C4FE}"/>
            </c:ext>
          </c:extLst>
        </c:ser>
        <c:ser>
          <c:idx val="3"/>
          <c:order val="3"/>
          <c:tx>
            <c:strRef>
              <c:f>'wind ΣΠ24'!$A$6</c:f>
              <c:strCache>
                <c:ptCount val="1"/>
                <c:pt idx="0">
                  <c:v>Νέα Υόρκη ΣΜ24</c:v>
                </c:pt>
              </c:strCache>
            </c:strRef>
          </c:tx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x"/>
            <c:size val="6"/>
            <c:spPr>
              <a:noFill/>
              <a:ln w="9525">
                <a:solidFill>
                  <a:schemeClr val="accent4"/>
                </a:solidFill>
                <a:round/>
              </a:ln>
              <a:effectLst/>
            </c:spPr>
          </c:marker>
          <c:xVal>
            <c:numRef>
              <c:f>'wind ΣΠ24'!$B$2:$I$2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'wind ΣΠ24'!$B$6:$I$6</c:f>
              <c:numCache>
                <c:formatCode>General</c:formatCode>
                <c:ptCount val="8"/>
                <c:pt idx="0">
                  <c:v>0.41993913782883696</c:v>
                </c:pt>
                <c:pt idx="1">
                  <c:v>0.22685143558310256</c:v>
                </c:pt>
                <c:pt idx="2">
                  <c:v>0.12808274261128089</c:v>
                </c:pt>
                <c:pt idx="3">
                  <c:v>7.4447683738921008E-2</c:v>
                </c:pt>
                <c:pt idx="4">
                  <c:v>4.6565850853357495E-2</c:v>
                </c:pt>
                <c:pt idx="5">
                  <c:v>3.1005775733555854E-2</c:v>
                </c:pt>
                <c:pt idx="6">
                  <c:v>2.1830026639510211E-2</c:v>
                </c:pt>
                <c:pt idx="7">
                  <c:v>1.282196902120436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82E7-4F6A-A80E-7CA15208C4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8424832"/>
        <c:axId val="178435200"/>
      </c:scatterChart>
      <c:valAx>
        <c:axId val="178424832"/>
        <c:scaling>
          <c:orientation val="minMax"/>
          <c:max val="2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ΧΡΟΝΙΚΟ ΒΑΘΟΣ ΠΡΟΓΝΩΣΗΣ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78435200"/>
        <c:crosses val="autoZero"/>
        <c:crossBetween val="midCat"/>
        <c:majorUnit val="4"/>
      </c:valAx>
      <c:valAx>
        <c:axId val="178435200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ΣΥΝΤΕΛΕΣΤΗΣ ΑΠΟΔΟΣΗΣ </a:t>
                </a:r>
                <a:r>
                  <a:rPr lang="en-US"/>
                  <a:t>NASH-SUTCLIFFE</a:t>
                </a:r>
                <a:endParaRPr lang="el-GR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7842483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9999905200869867E-2"/>
          <c:y val="0.91311416029184611"/>
          <c:w val="0.9"/>
          <c:h val="8.68858397081525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rgbClr val="00B050"/>
      </a:solidFill>
      <a:round/>
    </a:ln>
    <a:effectLst/>
  </c:spPr>
  <c:txPr>
    <a:bodyPr/>
    <a:lstStyle/>
    <a:p>
      <a:pPr>
        <a:defRPr sz="900"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Θερμοκρασία.!$B$1</c:f>
              <c:strCache>
                <c:ptCount val="1"/>
                <c:pt idx="0">
                  <c:v>Μέτρηση ΕΜΥ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extLst>
                <c:ext xmlns:c15="http://schemas.microsoft.com/office/drawing/2012/chart" uri="{02D57815-91ED-43cb-92C2-25804820EDAC}">
                  <c15:fullRef>
                    <c15:sqref>Θερμοκρασία.!$A$2:$A$35</c15:sqref>
                  </c15:fullRef>
                </c:ext>
              </c:extLst>
              <c:f>(Θερμοκρασία.!$A$2:$A$16,Θερμοκρασία.!$A$18,Θερμοκρασία.!$A$20:$A$22,Θερμοκρασία.!$A$26,Θερμοκρασία.!$A$29,Θερμοκρασία.!$A$32:$A$35)</c:f>
              <c:numCache>
                <c:formatCode>d/m/yy\ h:mm;@</c:formatCode>
                <c:ptCount val="25"/>
                <c:pt idx="0">
                  <c:v>38336.125</c:v>
                </c:pt>
                <c:pt idx="1">
                  <c:v>38336.625</c:v>
                </c:pt>
                <c:pt idx="2">
                  <c:v>38337.125</c:v>
                </c:pt>
                <c:pt idx="3">
                  <c:v>38337.625</c:v>
                </c:pt>
                <c:pt idx="4">
                  <c:v>38338.125</c:v>
                </c:pt>
                <c:pt idx="5">
                  <c:v>38338.625</c:v>
                </c:pt>
                <c:pt idx="6">
                  <c:v>38339.125</c:v>
                </c:pt>
                <c:pt idx="7">
                  <c:v>38339.625</c:v>
                </c:pt>
                <c:pt idx="8">
                  <c:v>38340.125</c:v>
                </c:pt>
                <c:pt idx="9">
                  <c:v>38340.625</c:v>
                </c:pt>
                <c:pt idx="10">
                  <c:v>38341.125</c:v>
                </c:pt>
                <c:pt idx="11">
                  <c:v>38341.625</c:v>
                </c:pt>
                <c:pt idx="12">
                  <c:v>38342.125</c:v>
                </c:pt>
                <c:pt idx="13">
                  <c:v>38342.625</c:v>
                </c:pt>
                <c:pt idx="14">
                  <c:v>38343.125</c:v>
                </c:pt>
                <c:pt idx="15">
                  <c:v>38344.125</c:v>
                </c:pt>
                <c:pt idx="16">
                  <c:v>38345.125</c:v>
                </c:pt>
                <c:pt idx="17">
                  <c:v>38345.625</c:v>
                </c:pt>
                <c:pt idx="18">
                  <c:v>38346.125</c:v>
                </c:pt>
                <c:pt idx="19">
                  <c:v>38348.125</c:v>
                </c:pt>
                <c:pt idx="20">
                  <c:v>38349.625</c:v>
                </c:pt>
                <c:pt idx="21">
                  <c:v>38351.125</c:v>
                </c:pt>
                <c:pt idx="22">
                  <c:v>38351.625</c:v>
                </c:pt>
                <c:pt idx="23">
                  <c:v>38352.125</c:v>
                </c:pt>
                <c:pt idx="24">
                  <c:v>38352.625</c:v>
                </c:pt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Θερμοκρασία.!$B$2:$B$35</c15:sqref>
                  </c15:fullRef>
                </c:ext>
              </c:extLst>
              <c:f>(Θερμοκρασία.!$B$2:$B$16,Θερμοκρασία.!$B$18,Θερμοκρασία.!$B$20:$B$22,Θερμοκρασία.!$B$26,Θερμοκρασία.!$B$29,Θερμοκρασία.!$B$32:$B$35)</c:f>
              <c:numCache>
                <c:formatCode>General</c:formatCode>
                <c:ptCount val="25"/>
                <c:pt idx="0">
                  <c:v>-0.14158423127763206</c:v>
                </c:pt>
                <c:pt idx="1">
                  <c:v>-1.0133528460588637</c:v>
                </c:pt>
                <c:pt idx="2">
                  <c:v>-1.8046480373840541</c:v>
                </c:pt>
                <c:pt idx="3">
                  <c:v>-0.89380728224462802</c:v>
                </c:pt>
                <c:pt idx="4">
                  <c:v>-0.52963245270246395</c:v>
                </c:pt>
                <c:pt idx="5">
                  <c:v>-0.11676111745209682</c:v>
                </c:pt>
                <c:pt idx="6">
                  <c:v>0.91168951258976827</c:v>
                </c:pt>
                <c:pt idx="7">
                  <c:v>0.83960339306178766</c:v>
                </c:pt>
                <c:pt idx="8">
                  <c:v>1.6323504952358849</c:v>
                </c:pt>
                <c:pt idx="9">
                  <c:v>-0.2363066812663325</c:v>
                </c:pt>
                <c:pt idx="10">
                  <c:v>-0.25245515168472699</c:v>
                </c:pt>
                <c:pt idx="11">
                  <c:v>0.30164835589772787</c:v>
                </c:pt>
                <c:pt idx="12">
                  <c:v>0.68994767177557892</c:v>
                </c:pt>
                <c:pt idx="13">
                  <c:v>0.77983061115467012</c:v>
                </c:pt>
                <c:pt idx="14">
                  <c:v>0.13559306974010496</c:v>
                </c:pt>
                <c:pt idx="15">
                  <c:v>-0.19701969148117976</c:v>
                </c:pt>
                <c:pt idx="16">
                  <c:v>-0.36332607209182188</c:v>
                </c:pt>
                <c:pt idx="17">
                  <c:v>-0.17653389935921493</c:v>
                </c:pt>
                <c:pt idx="18">
                  <c:v>-1.361164355755675</c:v>
                </c:pt>
                <c:pt idx="19">
                  <c:v>1.7986568758465264</c:v>
                </c:pt>
                <c:pt idx="20">
                  <c:v>0.60051226543331682</c:v>
                </c:pt>
                <c:pt idx="21">
                  <c:v>-0.41876153229536905</c:v>
                </c:pt>
                <c:pt idx="22">
                  <c:v>-0.47539780889480393</c:v>
                </c:pt>
                <c:pt idx="23">
                  <c:v>0.13559306974010496</c:v>
                </c:pt>
                <c:pt idx="24">
                  <c:v>-1.07312562796598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EB-4AF4-B54C-F1D21403D8DF}"/>
            </c:ext>
          </c:extLst>
        </c:ser>
        <c:ser>
          <c:idx val="1"/>
          <c:order val="1"/>
          <c:tx>
            <c:strRef>
              <c:f>Θερμοκρασία.!$C$1</c:f>
              <c:strCache>
                <c:ptCount val="1"/>
                <c:pt idx="0">
                  <c:v>ΣΜ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extLst>
                <c:ext xmlns:c15="http://schemas.microsoft.com/office/drawing/2012/chart" uri="{02D57815-91ED-43cb-92C2-25804820EDAC}">
                  <c15:fullRef>
                    <c15:sqref>Θερμοκρασία.!$A$2:$A$35</c15:sqref>
                  </c15:fullRef>
                </c:ext>
              </c:extLst>
              <c:f>(Θερμοκρασία.!$A$2:$A$16,Θερμοκρασία.!$A$18,Θερμοκρασία.!$A$20:$A$22,Θερμοκρασία.!$A$26,Θερμοκρασία.!$A$29,Θερμοκρασία.!$A$32:$A$35)</c:f>
              <c:numCache>
                <c:formatCode>d/m/yy\ h:mm;@</c:formatCode>
                <c:ptCount val="25"/>
                <c:pt idx="0">
                  <c:v>38336.125</c:v>
                </c:pt>
                <c:pt idx="1">
                  <c:v>38336.625</c:v>
                </c:pt>
                <c:pt idx="2">
                  <c:v>38337.125</c:v>
                </c:pt>
                <c:pt idx="3">
                  <c:v>38337.625</c:v>
                </c:pt>
                <c:pt idx="4">
                  <c:v>38338.125</c:v>
                </c:pt>
                <c:pt idx="5">
                  <c:v>38338.625</c:v>
                </c:pt>
                <c:pt idx="6">
                  <c:v>38339.125</c:v>
                </c:pt>
                <c:pt idx="7">
                  <c:v>38339.625</c:v>
                </c:pt>
                <c:pt idx="8">
                  <c:v>38340.125</c:v>
                </c:pt>
                <c:pt idx="9">
                  <c:v>38340.625</c:v>
                </c:pt>
                <c:pt idx="10">
                  <c:v>38341.125</c:v>
                </c:pt>
                <c:pt idx="11">
                  <c:v>38341.625</c:v>
                </c:pt>
                <c:pt idx="12">
                  <c:v>38342.125</c:v>
                </c:pt>
                <c:pt idx="13">
                  <c:v>38342.625</c:v>
                </c:pt>
                <c:pt idx="14">
                  <c:v>38343.125</c:v>
                </c:pt>
                <c:pt idx="15">
                  <c:v>38344.125</c:v>
                </c:pt>
                <c:pt idx="16">
                  <c:v>38345.125</c:v>
                </c:pt>
                <c:pt idx="17">
                  <c:v>38345.625</c:v>
                </c:pt>
                <c:pt idx="18">
                  <c:v>38346.125</c:v>
                </c:pt>
                <c:pt idx="19">
                  <c:v>38348.125</c:v>
                </c:pt>
                <c:pt idx="20">
                  <c:v>38349.625</c:v>
                </c:pt>
                <c:pt idx="21">
                  <c:v>38351.125</c:v>
                </c:pt>
                <c:pt idx="22">
                  <c:v>38351.625</c:v>
                </c:pt>
                <c:pt idx="23">
                  <c:v>38352.125</c:v>
                </c:pt>
                <c:pt idx="24">
                  <c:v>38352.625</c:v>
                </c:pt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Θερμοκρασία.!$C$2:$C$35</c15:sqref>
                  </c15:fullRef>
                </c:ext>
              </c:extLst>
              <c:f>(Θερμοκρασία.!$C$2:$C$16,Θερμοκρασία.!$C$18,Θερμοκρασία.!$C$20:$C$22,Θερμοκρασία.!$C$26,Θερμοκρασία.!$C$29,Θερμοκρασία.!$C$32:$C$35)</c:f>
              <c:numCache>
                <c:formatCode>General</c:formatCode>
                <c:ptCount val="25"/>
                <c:pt idx="0">
                  <c:v>-0.26593360861383625</c:v>
                </c:pt>
                <c:pt idx="1">
                  <c:v>-0.89971715721693835</c:v>
                </c:pt>
                <c:pt idx="2">
                  <c:v>-1.1055782928900553</c:v>
                </c:pt>
                <c:pt idx="3">
                  <c:v>-0.7168948758485425</c:v>
                </c:pt>
                <c:pt idx="4">
                  <c:v>-0.69191803667867391</c:v>
                </c:pt>
                <c:pt idx="5">
                  <c:v>-0.27406385893269769</c:v>
                </c:pt>
                <c:pt idx="6">
                  <c:v>0.91359151177104214</c:v>
                </c:pt>
                <c:pt idx="7">
                  <c:v>0.21537669377688118</c:v>
                </c:pt>
                <c:pt idx="8">
                  <c:v>1.1789509715899706</c:v>
                </c:pt>
                <c:pt idx="9">
                  <c:v>0.65717744995856409</c:v>
                </c:pt>
                <c:pt idx="10">
                  <c:v>-0.47066931212850088</c:v>
                </c:pt>
                <c:pt idx="11">
                  <c:v>0.33147350354699751</c:v>
                </c:pt>
                <c:pt idx="12">
                  <c:v>0.49970146696876105</c:v>
                </c:pt>
                <c:pt idx="13">
                  <c:v>0.4824993705874665</c:v>
                </c:pt>
                <c:pt idx="14">
                  <c:v>0.13810936095730658</c:v>
                </c:pt>
                <c:pt idx="15">
                  <c:v>-0.4110764689301033</c:v>
                </c:pt>
                <c:pt idx="16">
                  <c:v>-0.43421898973880124</c:v>
                </c:pt>
                <c:pt idx="17">
                  <c:v>-0.42691263388913303</c:v>
                </c:pt>
                <c:pt idx="18">
                  <c:v>-1.0964179644624554</c:v>
                </c:pt>
                <c:pt idx="19">
                  <c:v>1.5602037512281486</c:v>
                </c:pt>
                <c:pt idx="20">
                  <c:v>0.81833784062361703</c:v>
                </c:pt>
                <c:pt idx="21">
                  <c:v>-0.48925500849546266</c:v>
                </c:pt>
                <c:pt idx="22">
                  <c:v>-0.5525935986837196</c:v>
                </c:pt>
                <c:pt idx="23">
                  <c:v>0.33558215129650498</c:v>
                </c:pt>
                <c:pt idx="24">
                  <c:v>-0.63079261401226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EB-4AF4-B54C-F1D21403D8DF}"/>
            </c:ext>
          </c:extLst>
        </c:ser>
        <c:ser>
          <c:idx val="2"/>
          <c:order val="2"/>
          <c:tx>
            <c:strRef>
              <c:f>Θερμοκρασία.!$D$1</c:f>
              <c:strCache>
                <c:ptCount val="1"/>
                <c:pt idx="0">
                  <c:v>Μετεωρολογική πρόβλεψη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extLst>
                <c:ext xmlns:c15="http://schemas.microsoft.com/office/drawing/2012/chart" uri="{02D57815-91ED-43cb-92C2-25804820EDAC}">
                  <c15:fullRef>
                    <c15:sqref>Θερμοκρασία.!$A$2:$A$35</c15:sqref>
                  </c15:fullRef>
                </c:ext>
              </c:extLst>
              <c:f>(Θερμοκρασία.!$A$2:$A$16,Θερμοκρασία.!$A$18,Θερμοκρασία.!$A$20:$A$22,Θερμοκρασία.!$A$26,Θερμοκρασία.!$A$29,Θερμοκρασία.!$A$32:$A$35)</c:f>
              <c:numCache>
                <c:formatCode>d/m/yy\ h:mm;@</c:formatCode>
                <c:ptCount val="25"/>
                <c:pt idx="0">
                  <c:v>38336.125</c:v>
                </c:pt>
                <c:pt idx="1">
                  <c:v>38336.625</c:v>
                </c:pt>
                <c:pt idx="2">
                  <c:v>38337.125</c:v>
                </c:pt>
                <c:pt idx="3">
                  <c:v>38337.625</c:v>
                </c:pt>
                <c:pt idx="4">
                  <c:v>38338.125</c:v>
                </c:pt>
                <c:pt idx="5">
                  <c:v>38338.625</c:v>
                </c:pt>
                <c:pt idx="6">
                  <c:v>38339.125</c:v>
                </c:pt>
                <c:pt idx="7">
                  <c:v>38339.625</c:v>
                </c:pt>
                <c:pt idx="8">
                  <c:v>38340.125</c:v>
                </c:pt>
                <c:pt idx="9">
                  <c:v>38340.625</c:v>
                </c:pt>
                <c:pt idx="10">
                  <c:v>38341.125</c:v>
                </c:pt>
                <c:pt idx="11">
                  <c:v>38341.625</c:v>
                </c:pt>
                <c:pt idx="12">
                  <c:v>38342.125</c:v>
                </c:pt>
                <c:pt idx="13">
                  <c:v>38342.625</c:v>
                </c:pt>
                <c:pt idx="14">
                  <c:v>38343.125</c:v>
                </c:pt>
                <c:pt idx="15">
                  <c:v>38344.125</c:v>
                </c:pt>
                <c:pt idx="16">
                  <c:v>38345.125</c:v>
                </c:pt>
                <c:pt idx="17">
                  <c:v>38345.625</c:v>
                </c:pt>
                <c:pt idx="18">
                  <c:v>38346.125</c:v>
                </c:pt>
                <c:pt idx="19">
                  <c:v>38348.125</c:v>
                </c:pt>
                <c:pt idx="20">
                  <c:v>38349.625</c:v>
                </c:pt>
                <c:pt idx="21">
                  <c:v>38351.125</c:v>
                </c:pt>
                <c:pt idx="22">
                  <c:v>38351.625</c:v>
                </c:pt>
                <c:pt idx="23">
                  <c:v>38352.125</c:v>
                </c:pt>
                <c:pt idx="24">
                  <c:v>38352.625</c:v>
                </c:pt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Θερμοκρασία.!$D$2:$D$35</c15:sqref>
                  </c15:fullRef>
                </c:ext>
              </c:extLst>
              <c:f>(Θερμοκρασία.!$D$2:$D$16,Θερμοκρασία.!$D$18,Θερμοκρασία.!$D$20:$D$22,Θερμοκρασία.!$D$26,Θερμοκρασία.!$D$29,Θερμοκρασία.!$D$32:$D$35)</c:f>
              <c:numCache>
                <c:formatCode>General</c:formatCode>
                <c:ptCount val="25"/>
                <c:pt idx="0">
                  <c:v>-0.53046137839056151</c:v>
                </c:pt>
                <c:pt idx="1">
                  <c:v>-0.88100648721550245</c:v>
                </c:pt>
                <c:pt idx="2">
                  <c:v>-0.90912633963333334</c:v>
                </c:pt>
                <c:pt idx="3">
                  <c:v>-0.67489666556945294</c:v>
                </c:pt>
                <c:pt idx="4">
                  <c:v>-0.60748842502253075</c:v>
                </c:pt>
                <c:pt idx="5">
                  <c:v>0.23532887110527476</c:v>
                </c:pt>
                <c:pt idx="6">
                  <c:v>0.74911192025979811</c:v>
                </c:pt>
                <c:pt idx="7">
                  <c:v>0.41943507665667357</c:v>
                </c:pt>
                <c:pt idx="8">
                  <c:v>0.51433348212554297</c:v>
                </c:pt>
                <c:pt idx="9">
                  <c:v>0.60716213042618106</c:v>
                </c:pt>
                <c:pt idx="10">
                  <c:v>0.49399834181469926</c:v>
                </c:pt>
                <c:pt idx="11">
                  <c:v>0.83360440745082642</c:v>
                </c:pt>
                <c:pt idx="12">
                  <c:v>0.98758765663237824</c:v>
                </c:pt>
                <c:pt idx="13">
                  <c:v>0.62303815722865108</c:v>
                </c:pt>
                <c:pt idx="14">
                  <c:v>-7.6309911448431328E-2</c:v>
                </c:pt>
                <c:pt idx="15">
                  <c:v>-0.65247222025560092</c:v>
                </c:pt>
                <c:pt idx="16">
                  <c:v>-0.67896952429700119</c:v>
                </c:pt>
                <c:pt idx="17">
                  <c:v>-0.52087135290691866</c:v>
                </c:pt>
                <c:pt idx="18">
                  <c:v>-3.040179165578558E-2</c:v>
                </c:pt>
                <c:pt idx="19">
                  <c:v>1.6287607927969214</c:v>
                </c:pt>
                <c:pt idx="20">
                  <c:v>1.0845570416441945</c:v>
                </c:pt>
                <c:pt idx="21">
                  <c:v>0.75927949041522003</c:v>
                </c:pt>
                <c:pt idx="22">
                  <c:v>0.10637096918348153</c:v>
                </c:pt>
                <c:pt idx="23">
                  <c:v>0.57010106388709292</c:v>
                </c:pt>
                <c:pt idx="24">
                  <c:v>-0.216441575799979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6EB-4AF4-B54C-F1D21403D8DF}"/>
            </c:ext>
          </c:extLst>
        </c:ser>
        <c:ser>
          <c:idx val="3"/>
          <c:order val="3"/>
          <c:tx>
            <c:strRef>
              <c:f>Θερμοκρασία.!$E$1</c:f>
              <c:strCache>
                <c:ptCount val="1"/>
                <c:pt idx="0">
                  <c:v>ΣΠΜ2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extLst>
                <c:ext xmlns:c15="http://schemas.microsoft.com/office/drawing/2012/chart" uri="{02D57815-91ED-43cb-92C2-25804820EDAC}">
                  <c15:fullRef>
                    <c15:sqref>Θερμοκρασία.!$A$2:$A$35</c15:sqref>
                  </c15:fullRef>
                </c:ext>
              </c:extLst>
              <c:f>(Θερμοκρασία.!$A$2:$A$16,Θερμοκρασία.!$A$18,Θερμοκρασία.!$A$20:$A$22,Θερμοκρασία.!$A$26,Θερμοκρασία.!$A$29,Θερμοκρασία.!$A$32:$A$35)</c:f>
              <c:numCache>
                <c:formatCode>d/m/yy\ h:mm;@</c:formatCode>
                <c:ptCount val="25"/>
                <c:pt idx="0">
                  <c:v>38336.125</c:v>
                </c:pt>
                <c:pt idx="1">
                  <c:v>38336.625</c:v>
                </c:pt>
                <c:pt idx="2">
                  <c:v>38337.125</c:v>
                </c:pt>
                <c:pt idx="3">
                  <c:v>38337.625</c:v>
                </c:pt>
                <c:pt idx="4">
                  <c:v>38338.125</c:v>
                </c:pt>
                <c:pt idx="5">
                  <c:v>38338.625</c:v>
                </c:pt>
                <c:pt idx="6">
                  <c:v>38339.125</c:v>
                </c:pt>
                <c:pt idx="7">
                  <c:v>38339.625</c:v>
                </c:pt>
                <c:pt idx="8">
                  <c:v>38340.125</c:v>
                </c:pt>
                <c:pt idx="9">
                  <c:v>38340.625</c:v>
                </c:pt>
                <c:pt idx="10">
                  <c:v>38341.125</c:v>
                </c:pt>
                <c:pt idx="11">
                  <c:v>38341.625</c:v>
                </c:pt>
                <c:pt idx="12">
                  <c:v>38342.125</c:v>
                </c:pt>
                <c:pt idx="13">
                  <c:v>38342.625</c:v>
                </c:pt>
                <c:pt idx="14">
                  <c:v>38343.125</c:v>
                </c:pt>
                <c:pt idx="15">
                  <c:v>38344.125</c:v>
                </c:pt>
                <c:pt idx="16">
                  <c:v>38345.125</c:v>
                </c:pt>
                <c:pt idx="17">
                  <c:v>38345.625</c:v>
                </c:pt>
                <c:pt idx="18">
                  <c:v>38346.125</c:v>
                </c:pt>
                <c:pt idx="19">
                  <c:v>38348.125</c:v>
                </c:pt>
                <c:pt idx="20">
                  <c:v>38349.625</c:v>
                </c:pt>
                <c:pt idx="21">
                  <c:v>38351.125</c:v>
                </c:pt>
                <c:pt idx="22">
                  <c:v>38351.625</c:v>
                </c:pt>
                <c:pt idx="23">
                  <c:v>38352.125</c:v>
                </c:pt>
                <c:pt idx="24">
                  <c:v>38352.625</c:v>
                </c:pt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Θερμοκρασία.!$E$2:$E$35</c15:sqref>
                  </c15:fullRef>
                </c:ext>
              </c:extLst>
              <c:f>(Θερμοκρασία.!$E$2:$E$16,Θερμοκρασία.!$E$18,Θερμοκρασία.!$E$20:$E$22,Θερμοκρασία.!$E$26,Θερμοκρασία.!$E$29,Θερμοκρασία.!$E$32:$E$35)</c:f>
              <c:numCache>
                <c:formatCode>General</c:formatCode>
                <c:ptCount val="25"/>
                <c:pt idx="0">
                  <c:v>-0.32435341572474463</c:v>
                </c:pt>
                <c:pt idx="1">
                  <c:v>-0.96824607241697291</c:v>
                </c:pt>
                <c:pt idx="2">
                  <c:v>-1.1862450932360991</c:v>
                </c:pt>
                <c:pt idx="3">
                  <c:v>-0.648087855260985</c:v>
                </c:pt>
                <c:pt idx="4">
                  <c:v>-0.66242632988861361</c:v>
                </c:pt>
                <c:pt idx="5">
                  <c:v>-0.14163661001503605</c:v>
                </c:pt>
                <c:pt idx="6">
                  <c:v>1.0085931590664445</c:v>
                </c:pt>
                <c:pt idx="7">
                  <c:v>0.18593287819682203</c:v>
                </c:pt>
                <c:pt idx="8">
                  <c:v>1.1188004333445503</c:v>
                </c:pt>
                <c:pt idx="9">
                  <c:v>0.62892274467791653</c:v>
                </c:pt>
                <c:pt idx="10">
                  <c:v>-0.44393337844131847</c:v>
                </c:pt>
                <c:pt idx="11">
                  <c:v>0.46537676151994911</c:v>
                </c:pt>
                <c:pt idx="12">
                  <c:v>0.58675178298380715</c:v>
                </c:pt>
                <c:pt idx="13">
                  <c:v>0.5817700475746751</c:v>
                </c:pt>
                <c:pt idx="14">
                  <c:v>6.1448742108611502E-2</c:v>
                </c:pt>
                <c:pt idx="15">
                  <c:v>-0.47961839355136321</c:v>
                </c:pt>
                <c:pt idx="16">
                  <c:v>-0.50534662830499133</c:v>
                </c:pt>
                <c:pt idx="17">
                  <c:v>-0.45246013033633015</c:v>
                </c:pt>
                <c:pt idx="18">
                  <c:v>-0.94292575743926965</c:v>
                </c:pt>
                <c:pt idx="19">
                  <c:v>1.6542146142653418</c:v>
                </c:pt>
                <c:pt idx="20">
                  <c:v>0.82228821390790663</c:v>
                </c:pt>
                <c:pt idx="21">
                  <c:v>-0.41935264405609102</c:v>
                </c:pt>
                <c:pt idx="22">
                  <c:v>-0.43056928002302958</c:v>
                </c:pt>
                <c:pt idx="23">
                  <c:v>0.37535091454988012</c:v>
                </c:pt>
                <c:pt idx="24">
                  <c:v>-0.665662259339056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6EB-4AF4-B54C-F1D21403D8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0683664"/>
        <c:axId val="546848416"/>
      </c:barChart>
      <c:catAx>
        <c:axId val="750683664"/>
        <c:scaling>
          <c:orientation val="minMax"/>
        </c:scaling>
        <c:delete val="0"/>
        <c:axPos val="b"/>
        <c:numFmt formatCode="d/m/yy\ h:m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546848416"/>
        <c:crosses val="autoZero"/>
        <c:auto val="0"/>
        <c:lblAlgn val="ctr"/>
        <c:lblOffset val="100"/>
        <c:noMultiLvlLbl val="0"/>
      </c:catAx>
      <c:valAx>
        <c:axId val="546848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750683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rgbClr val="FF0000"/>
      </a:solidFill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3">
    <c:autoUpdate val="0"/>
  </c:externalData>
  <c:userShapes r:id="rId4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Θερμοκρασία.!$B$1</c:f>
              <c:strCache>
                <c:ptCount val="1"/>
                <c:pt idx="0">
                  <c:v>Μέτρηση ΕΜΥ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extLst>
                <c:ext xmlns:c15="http://schemas.microsoft.com/office/drawing/2012/chart" uri="{02D57815-91ED-43cb-92C2-25804820EDAC}">
                  <c15:fullRef>
                    <c15:sqref>Θερμοκρασία.!$A$110:$A$143</c15:sqref>
                  </c15:fullRef>
                </c:ext>
              </c:extLst>
              <c:f>(Θερμοκρασία.!$A$111:$A$118,Θερμοκρασία.!$A$121:$A$123,Θερμοκρασία.!$A$125:$A$126,Θερμοκρασία.!$A$128:$A$131,Θερμοκρασία.!$A$133:$A$138)</c:f>
              <c:numCache>
                <c:formatCode>d/m/yy\ h:mm;@</c:formatCode>
                <c:ptCount val="23"/>
                <c:pt idx="0">
                  <c:v>38336.5</c:v>
                </c:pt>
                <c:pt idx="1">
                  <c:v>38337</c:v>
                </c:pt>
                <c:pt idx="2">
                  <c:v>38337.5</c:v>
                </c:pt>
                <c:pt idx="3">
                  <c:v>38338</c:v>
                </c:pt>
                <c:pt idx="4">
                  <c:v>38338.5</c:v>
                </c:pt>
                <c:pt idx="5">
                  <c:v>38339</c:v>
                </c:pt>
                <c:pt idx="6">
                  <c:v>38339.5</c:v>
                </c:pt>
                <c:pt idx="7">
                  <c:v>38340</c:v>
                </c:pt>
                <c:pt idx="8">
                  <c:v>38341.5</c:v>
                </c:pt>
                <c:pt idx="9">
                  <c:v>38342</c:v>
                </c:pt>
                <c:pt idx="10">
                  <c:v>38342.5</c:v>
                </c:pt>
                <c:pt idx="11">
                  <c:v>38343.5</c:v>
                </c:pt>
                <c:pt idx="12">
                  <c:v>38344</c:v>
                </c:pt>
                <c:pt idx="13">
                  <c:v>38345</c:v>
                </c:pt>
                <c:pt idx="14">
                  <c:v>38345.5</c:v>
                </c:pt>
                <c:pt idx="15">
                  <c:v>38346</c:v>
                </c:pt>
                <c:pt idx="16">
                  <c:v>38346.5</c:v>
                </c:pt>
                <c:pt idx="17">
                  <c:v>38347.5</c:v>
                </c:pt>
                <c:pt idx="18">
                  <c:v>38348</c:v>
                </c:pt>
                <c:pt idx="19">
                  <c:v>38348.5</c:v>
                </c:pt>
                <c:pt idx="20">
                  <c:v>38349</c:v>
                </c:pt>
                <c:pt idx="21">
                  <c:v>38349.5</c:v>
                </c:pt>
                <c:pt idx="22">
                  <c:v>38350</c:v>
                </c:pt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Θερμοκρασία.!$B$110:$B$143</c15:sqref>
                  </c15:fullRef>
                </c:ext>
              </c:extLst>
              <c:f>(Θερμοκρασία.!$B$111:$B$118,Θερμοκρασία.!$B$121:$B$123,Θερμοκρασία.!$B$125:$B$126,Θερμοκρασία.!$B$128:$B$131,Θερμοκρασία.!$B$133:$B$138)</c:f>
              <c:numCache>
                <c:formatCode>General</c:formatCode>
                <c:ptCount val="23"/>
                <c:pt idx="0">
                  <c:v>-1.0586386916865533</c:v>
                </c:pt>
                <c:pt idx="1">
                  <c:v>-1.2872949929332629</c:v>
                </c:pt>
                <c:pt idx="2">
                  <c:v>-0.65769578563730657</c:v>
                </c:pt>
                <c:pt idx="3">
                  <c:v>-0.66602852452122674</c:v>
                </c:pt>
                <c:pt idx="4">
                  <c:v>-0.19947532158102493</c:v>
                </c:pt>
                <c:pt idx="5">
                  <c:v>1.1412921108592418</c:v>
                </c:pt>
                <c:pt idx="6">
                  <c:v>0.14419002646118667</c:v>
                </c:pt>
                <c:pt idx="7">
                  <c:v>1.3107284204261604</c:v>
                </c:pt>
                <c:pt idx="8">
                  <c:v>0.43057781649636279</c:v>
                </c:pt>
                <c:pt idx="9">
                  <c:v>0.57650441230284533</c:v>
                </c:pt>
                <c:pt idx="10">
                  <c:v>0.60241049051746831</c:v>
                </c:pt>
                <c:pt idx="11">
                  <c:v>-0.65769578563730657</c:v>
                </c:pt>
                <c:pt idx="12">
                  <c:v>-0.496592214954308</c:v>
                </c:pt>
                <c:pt idx="13">
                  <c:v>-0.496592214954308</c:v>
                </c:pt>
                <c:pt idx="14">
                  <c:v>-0.4285855536091655</c:v>
                </c:pt>
                <c:pt idx="15">
                  <c:v>-1.1743374532219835</c:v>
                </c:pt>
                <c:pt idx="16">
                  <c:v>-0.14219776357398942</c:v>
                </c:pt>
                <c:pt idx="17">
                  <c:v>0.3160227004822922</c:v>
                </c:pt>
                <c:pt idx="18">
                  <c:v>1.7625585792712779</c:v>
                </c:pt>
                <c:pt idx="19">
                  <c:v>1.1179085125807855</c:v>
                </c:pt>
                <c:pt idx="20">
                  <c:v>1.1412921108592418</c:v>
                </c:pt>
                <c:pt idx="21">
                  <c:v>0.77424316453857434</c:v>
                </c:pt>
                <c:pt idx="22">
                  <c:v>1.4236859601374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F8-4481-9A23-1C163380115A}"/>
            </c:ext>
          </c:extLst>
        </c:ser>
        <c:ser>
          <c:idx val="1"/>
          <c:order val="1"/>
          <c:tx>
            <c:strRef>
              <c:f>Θερμοκρασία.!$C$1</c:f>
              <c:strCache>
                <c:ptCount val="1"/>
                <c:pt idx="0">
                  <c:v>ΣΜ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extLst>
                <c:ext xmlns:c15="http://schemas.microsoft.com/office/drawing/2012/chart" uri="{02D57815-91ED-43cb-92C2-25804820EDAC}">
                  <c15:fullRef>
                    <c15:sqref>Θερμοκρασία.!$A$110:$A$143</c15:sqref>
                  </c15:fullRef>
                </c:ext>
              </c:extLst>
              <c:f>(Θερμοκρασία.!$A$111:$A$118,Θερμοκρασία.!$A$121:$A$123,Θερμοκρασία.!$A$125:$A$126,Θερμοκρασία.!$A$128:$A$131,Θερμοκρασία.!$A$133:$A$138)</c:f>
              <c:numCache>
                <c:formatCode>d/m/yy\ h:mm;@</c:formatCode>
                <c:ptCount val="23"/>
                <c:pt idx="0">
                  <c:v>38336.5</c:v>
                </c:pt>
                <c:pt idx="1">
                  <c:v>38337</c:v>
                </c:pt>
                <c:pt idx="2">
                  <c:v>38337.5</c:v>
                </c:pt>
                <c:pt idx="3">
                  <c:v>38338</c:v>
                </c:pt>
                <c:pt idx="4">
                  <c:v>38338.5</c:v>
                </c:pt>
                <c:pt idx="5">
                  <c:v>38339</c:v>
                </c:pt>
                <c:pt idx="6">
                  <c:v>38339.5</c:v>
                </c:pt>
                <c:pt idx="7">
                  <c:v>38340</c:v>
                </c:pt>
                <c:pt idx="8">
                  <c:v>38341.5</c:v>
                </c:pt>
                <c:pt idx="9">
                  <c:v>38342</c:v>
                </c:pt>
                <c:pt idx="10">
                  <c:v>38342.5</c:v>
                </c:pt>
                <c:pt idx="11">
                  <c:v>38343.5</c:v>
                </c:pt>
                <c:pt idx="12">
                  <c:v>38344</c:v>
                </c:pt>
                <c:pt idx="13">
                  <c:v>38345</c:v>
                </c:pt>
                <c:pt idx="14">
                  <c:v>38345.5</c:v>
                </c:pt>
                <c:pt idx="15">
                  <c:v>38346</c:v>
                </c:pt>
                <c:pt idx="16">
                  <c:v>38346.5</c:v>
                </c:pt>
                <c:pt idx="17">
                  <c:v>38347.5</c:v>
                </c:pt>
                <c:pt idx="18">
                  <c:v>38348</c:v>
                </c:pt>
                <c:pt idx="19">
                  <c:v>38348.5</c:v>
                </c:pt>
                <c:pt idx="20">
                  <c:v>38349</c:v>
                </c:pt>
                <c:pt idx="21">
                  <c:v>38349.5</c:v>
                </c:pt>
                <c:pt idx="22">
                  <c:v>38350</c:v>
                </c:pt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Θερμοκρασία.!$C$110:$C$143</c15:sqref>
                  </c15:fullRef>
                </c:ext>
              </c:extLst>
              <c:f>(Θερμοκρασία.!$C$111:$C$118,Θερμοκρασία.!$C$121:$C$123,Θερμοκρασία.!$C$125:$C$126,Θερμοκρασία.!$C$128:$C$131,Θερμοκρασία.!$C$133:$C$138)</c:f>
              <c:numCache>
                <c:formatCode>General</c:formatCode>
                <c:ptCount val="23"/>
                <c:pt idx="0">
                  <c:v>-0.35744833192297581</c:v>
                </c:pt>
                <c:pt idx="1">
                  <c:v>-0.53666702442013059</c:v>
                </c:pt>
                <c:pt idx="2">
                  <c:v>-0.97045255068200476</c:v>
                </c:pt>
                <c:pt idx="3">
                  <c:v>-0.87048241277579042</c:v>
                </c:pt>
                <c:pt idx="4">
                  <c:v>-0.59067950579787365</c:v>
                </c:pt>
                <c:pt idx="5">
                  <c:v>-0.28429578286426005</c:v>
                </c:pt>
                <c:pt idx="6">
                  <c:v>0.455750922843143</c:v>
                </c:pt>
                <c:pt idx="7">
                  <c:v>0.49688482065087991</c:v>
                </c:pt>
                <c:pt idx="8">
                  <c:v>-0.1966744681695316</c:v>
                </c:pt>
                <c:pt idx="9">
                  <c:v>1.2231335430750279E-2</c:v>
                </c:pt>
                <c:pt idx="10">
                  <c:v>0.35326445132225204</c:v>
                </c:pt>
                <c:pt idx="11">
                  <c:v>0.27004549955144008</c:v>
                </c:pt>
                <c:pt idx="12">
                  <c:v>-0.23801206171072936</c:v>
                </c:pt>
                <c:pt idx="13">
                  <c:v>-0.26301254859906764</c:v>
                </c:pt>
                <c:pt idx="14">
                  <c:v>-0.4098258884177941</c:v>
                </c:pt>
                <c:pt idx="15">
                  <c:v>-0.41807807891615545</c:v>
                </c:pt>
                <c:pt idx="16">
                  <c:v>-0.69193887649541708</c:v>
                </c:pt>
                <c:pt idx="17">
                  <c:v>4.982548110862374E-2</c:v>
                </c:pt>
                <c:pt idx="18">
                  <c:v>0.42846825963845814</c:v>
                </c:pt>
                <c:pt idx="19">
                  <c:v>1.003826454765512</c:v>
                </c:pt>
                <c:pt idx="20">
                  <c:v>1.1957219503711016</c:v>
                </c:pt>
                <c:pt idx="21">
                  <c:v>0.96782671209293869</c:v>
                </c:pt>
                <c:pt idx="22">
                  <c:v>0.864015051561048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F8-4481-9A23-1C163380115A}"/>
            </c:ext>
          </c:extLst>
        </c:ser>
        <c:ser>
          <c:idx val="2"/>
          <c:order val="2"/>
          <c:tx>
            <c:strRef>
              <c:f>Θερμοκρασία.!$D$1</c:f>
              <c:strCache>
                <c:ptCount val="1"/>
                <c:pt idx="0">
                  <c:v>Μετεωρολογική πρόβλεψη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extLst>
                <c:ext xmlns:c15="http://schemas.microsoft.com/office/drawing/2012/chart" uri="{02D57815-91ED-43cb-92C2-25804820EDAC}">
                  <c15:fullRef>
                    <c15:sqref>Θερμοκρασία.!$A$110:$A$143</c15:sqref>
                  </c15:fullRef>
                </c:ext>
              </c:extLst>
              <c:f>(Θερμοκρασία.!$A$111:$A$118,Θερμοκρασία.!$A$121:$A$123,Θερμοκρασία.!$A$125:$A$126,Θερμοκρασία.!$A$128:$A$131,Θερμοκρασία.!$A$133:$A$138)</c:f>
              <c:numCache>
                <c:formatCode>d/m/yy\ h:mm;@</c:formatCode>
                <c:ptCount val="23"/>
                <c:pt idx="0">
                  <c:v>38336.5</c:v>
                </c:pt>
                <c:pt idx="1">
                  <c:v>38337</c:v>
                </c:pt>
                <c:pt idx="2">
                  <c:v>38337.5</c:v>
                </c:pt>
                <c:pt idx="3">
                  <c:v>38338</c:v>
                </c:pt>
                <c:pt idx="4">
                  <c:v>38338.5</c:v>
                </c:pt>
                <c:pt idx="5">
                  <c:v>38339</c:v>
                </c:pt>
                <c:pt idx="6">
                  <c:v>38339.5</c:v>
                </c:pt>
                <c:pt idx="7">
                  <c:v>38340</c:v>
                </c:pt>
                <c:pt idx="8">
                  <c:v>38341.5</c:v>
                </c:pt>
                <c:pt idx="9">
                  <c:v>38342</c:v>
                </c:pt>
                <c:pt idx="10">
                  <c:v>38342.5</c:v>
                </c:pt>
                <c:pt idx="11">
                  <c:v>38343.5</c:v>
                </c:pt>
                <c:pt idx="12">
                  <c:v>38344</c:v>
                </c:pt>
                <c:pt idx="13">
                  <c:v>38345</c:v>
                </c:pt>
                <c:pt idx="14">
                  <c:v>38345.5</c:v>
                </c:pt>
                <c:pt idx="15">
                  <c:v>38346</c:v>
                </c:pt>
                <c:pt idx="16">
                  <c:v>38346.5</c:v>
                </c:pt>
                <c:pt idx="17">
                  <c:v>38347.5</c:v>
                </c:pt>
                <c:pt idx="18">
                  <c:v>38348</c:v>
                </c:pt>
                <c:pt idx="19">
                  <c:v>38348.5</c:v>
                </c:pt>
                <c:pt idx="20">
                  <c:v>38349</c:v>
                </c:pt>
                <c:pt idx="21">
                  <c:v>38349.5</c:v>
                </c:pt>
                <c:pt idx="22">
                  <c:v>38350</c:v>
                </c:pt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Θερμοκρασία.!$D$110:$D$143</c15:sqref>
                  </c15:fullRef>
                </c:ext>
              </c:extLst>
              <c:f>(Θερμοκρασία.!$D$111:$D$118,Θερμοκρασία.!$D$121:$D$123,Θερμοκρασία.!$D$125:$D$126,Θερμοκρασία.!$D$128:$D$131,Θερμοκρασία.!$D$133:$D$138)</c:f>
              <c:numCache>
                <c:formatCode>General</c:formatCode>
                <c:ptCount val="23"/>
                <c:pt idx="0">
                  <c:v>-0.98648499059918326</c:v>
                </c:pt>
                <c:pt idx="1">
                  <c:v>-1.0346215011280728</c:v>
                </c:pt>
                <c:pt idx="2">
                  <c:v>-0.70674419542303113</c:v>
                </c:pt>
                <c:pt idx="3">
                  <c:v>-0.56587120444010885</c:v>
                </c:pt>
                <c:pt idx="4">
                  <c:v>8.7945744341120773E-3</c:v>
                </c:pt>
                <c:pt idx="5">
                  <c:v>0.8101973406333709</c:v>
                </c:pt>
                <c:pt idx="6">
                  <c:v>0.59677596884494588</c:v>
                </c:pt>
                <c:pt idx="7">
                  <c:v>0.42614239978588492</c:v>
                </c:pt>
                <c:pt idx="8">
                  <c:v>0.50518921988024346</c:v>
                </c:pt>
                <c:pt idx="9">
                  <c:v>0.81943683399779488</c:v>
                </c:pt>
                <c:pt idx="10">
                  <c:v>0.64270769189068322</c:v>
                </c:pt>
                <c:pt idx="11">
                  <c:v>-0.73884106212968259</c:v>
                </c:pt>
                <c:pt idx="12">
                  <c:v>-0.77252787269083012</c:v>
                </c:pt>
                <c:pt idx="13">
                  <c:v>-1.0189143624085701</c:v>
                </c:pt>
                <c:pt idx="14">
                  <c:v>-0.81244249785359168</c:v>
                </c:pt>
                <c:pt idx="15">
                  <c:v>-0.26127590652656985</c:v>
                </c:pt>
                <c:pt idx="16">
                  <c:v>0.1933515579974194</c:v>
                </c:pt>
                <c:pt idx="17">
                  <c:v>0.94513765146294193</c:v>
                </c:pt>
                <c:pt idx="18">
                  <c:v>1.5564404213659209</c:v>
                </c:pt>
                <c:pt idx="19">
                  <c:v>1.4359983543734429</c:v>
                </c:pt>
                <c:pt idx="20">
                  <c:v>1.4283194467127134</c:v>
                </c:pt>
                <c:pt idx="21">
                  <c:v>1.435444960119878</c:v>
                </c:pt>
                <c:pt idx="22">
                  <c:v>1.3457799726572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4F8-4481-9A23-1C163380115A}"/>
            </c:ext>
          </c:extLst>
        </c:ser>
        <c:ser>
          <c:idx val="3"/>
          <c:order val="3"/>
          <c:tx>
            <c:strRef>
              <c:f>Θερμοκρασία.!$E$1</c:f>
              <c:strCache>
                <c:ptCount val="1"/>
                <c:pt idx="0">
                  <c:v>ΣΠΜ2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extLst>
                <c:ext xmlns:c15="http://schemas.microsoft.com/office/drawing/2012/chart" uri="{02D57815-91ED-43cb-92C2-25804820EDAC}">
                  <c15:fullRef>
                    <c15:sqref>Θερμοκρασία.!$A$110:$A$143</c15:sqref>
                  </c15:fullRef>
                </c:ext>
              </c:extLst>
              <c:f>(Θερμοκρασία.!$A$111:$A$118,Θερμοκρασία.!$A$121:$A$123,Θερμοκρασία.!$A$125:$A$126,Θερμοκρασία.!$A$128:$A$131,Θερμοκρασία.!$A$133:$A$138)</c:f>
              <c:numCache>
                <c:formatCode>d/m/yy\ h:mm;@</c:formatCode>
                <c:ptCount val="23"/>
                <c:pt idx="0">
                  <c:v>38336.5</c:v>
                </c:pt>
                <c:pt idx="1">
                  <c:v>38337</c:v>
                </c:pt>
                <c:pt idx="2">
                  <c:v>38337.5</c:v>
                </c:pt>
                <c:pt idx="3">
                  <c:v>38338</c:v>
                </c:pt>
                <c:pt idx="4">
                  <c:v>38338.5</c:v>
                </c:pt>
                <c:pt idx="5">
                  <c:v>38339</c:v>
                </c:pt>
                <c:pt idx="6">
                  <c:v>38339.5</c:v>
                </c:pt>
                <c:pt idx="7">
                  <c:v>38340</c:v>
                </c:pt>
                <c:pt idx="8">
                  <c:v>38341.5</c:v>
                </c:pt>
                <c:pt idx="9">
                  <c:v>38342</c:v>
                </c:pt>
                <c:pt idx="10">
                  <c:v>38342.5</c:v>
                </c:pt>
                <c:pt idx="11">
                  <c:v>38343.5</c:v>
                </c:pt>
                <c:pt idx="12">
                  <c:v>38344</c:v>
                </c:pt>
                <c:pt idx="13">
                  <c:v>38345</c:v>
                </c:pt>
                <c:pt idx="14">
                  <c:v>38345.5</c:v>
                </c:pt>
                <c:pt idx="15">
                  <c:v>38346</c:v>
                </c:pt>
                <c:pt idx="16">
                  <c:v>38346.5</c:v>
                </c:pt>
                <c:pt idx="17">
                  <c:v>38347.5</c:v>
                </c:pt>
                <c:pt idx="18">
                  <c:v>38348</c:v>
                </c:pt>
                <c:pt idx="19">
                  <c:v>38348.5</c:v>
                </c:pt>
                <c:pt idx="20">
                  <c:v>38349</c:v>
                </c:pt>
                <c:pt idx="21">
                  <c:v>38349.5</c:v>
                </c:pt>
                <c:pt idx="22">
                  <c:v>38350</c:v>
                </c:pt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Θερμοκρασία.!$E$110:$E$143</c15:sqref>
                  </c15:fullRef>
                </c:ext>
              </c:extLst>
              <c:f>(Θερμοκρασία.!$E$111:$E$118,Θερμοκρασία.!$E$121:$E$123,Θερμοκρασία.!$E$125:$E$126,Θερμοκρασία.!$E$128:$E$131,Θερμοκρασία.!$E$133:$E$138)</c:f>
              <c:numCache>
                <c:formatCode>General</c:formatCode>
                <c:ptCount val="23"/>
                <c:pt idx="0">
                  <c:v>-0.75511601773007531</c:v>
                </c:pt>
                <c:pt idx="1">
                  <c:v>-0.74312369814558554</c:v>
                </c:pt>
                <c:pt idx="2">
                  <c:v>-0.80167092120622452</c:v>
                </c:pt>
                <c:pt idx="3">
                  <c:v>-0.83299845058089494</c:v>
                </c:pt>
                <c:pt idx="4">
                  <c:v>-0.27202378134328953</c:v>
                </c:pt>
                <c:pt idx="5">
                  <c:v>0.35282350976875426</c:v>
                </c:pt>
                <c:pt idx="6">
                  <c:v>0.42582543644229354</c:v>
                </c:pt>
                <c:pt idx="7">
                  <c:v>0.55796047813290039</c:v>
                </c:pt>
                <c:pt idx="8">
                  <c:v>0.26646218203081351</c:v>
                </c:pt>
                <c:pt idx="9">
                  <c:v>0.44243882971393272</c:v>
                </c:pt>
                <c:pt idx="10">
                  <c:v>0.48266746479763134</c:v>
                </c:pt>
                <c:pt idx="11">
                  <c:v>-0.2637037521694211</c:v>
                </c:pt>
                <c:pt idx="12">
                  <c:v>-0.47390811997472626</c:v>
                </c:pt>
                <c:pt idx="13">
                  <c:v>-0.69575275874074971</c:v>
                </c:pt>
                <c:pt idx="14">
                  <c:v>-0.68981015581108596</c:v>
                </c:pt>
                <c:pt idx="15">
                  <c:v>-0.35220495457557788</c:v>
                </c:pt>
                <c:pt idx="16">
                  <c:v>-9.1365720383048479E-2</c:v>
                </c:pt>
                <c:pt idx="17">
                  <c:v>0.5378051302722977</c:v>
                </c:pt>
                <c:pt idx="18">
                  <c:v>1.2282283249680368</c:v>
                </c:pt>
                <c:pt idx="19">
                  <c:v>1.2019884797728968</c:v>
                </c:pt>
                <c:pt idx="20">
                  <c:v>1.4383659023133126</c:v>
                </c:pt>
                <c:pt idx="21">
                  <c:v>1.285537601512416</c:v>
                </c:pt>
                <c:pt idx="22">
                  <c:v>1.26345483029884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4F8-4481-9A23-1C16338011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0683664"/>
        <c:axId val="546848416"/>
      </c:barChart>
      <c:catAx>
        <c:axId val="750683664"/>
        <c:scaling>
          <c:orientation val="minMax"/>
        </c:scaling>
        <c:delete val="0"/>
        <c:axPos val="b"/>
        <c:numFmt formatCode="d/m/yy\ h:m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546848416"/>
        <c:crosses val="autoZero"/>
        <c:auto val="0"/>
        <c:lblAlgn val="ctr"/>
        <c:lblOffset val="100"/>
        <c:noMultiLvlLbl val="0"/>
      </c:catAx>
      <c:valAx>
        <c:axId val="546848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750683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rgbClr val="0000FF"/>
      </a:solidFill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5875154159947004E-2"/>
          <c:y val="1.5124326564442602E-2"/>
          <c:w val="0.87300034784808622"/>
          <c:h val="0.82287792973246665"/>
        </c:manualLayout>
      </c:layout>
      <c:scatterChart>
        <c:scatterStyle val="lineMarker"/>
        <c:varyColors val="0"/>
        <c:ser>
          <c:idx val="0"/>
          <c:order val="0"/>
          <c:tx>
            <c:strRef>
              <c:f>rain!$Q$2</c:f>
              <c:strCache>
                <c:ptCount val="1"/>
                <c:pt idx="0">
                  <c:v>Β1</c:v>
                </c:pt>
              </c:strCache>
            </c:strRef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xVal>
            <c:numRef>
              <c:f>rain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rain!$R$2:$Y$2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893-42C0-8BAC-05573E4C3DAB}"/>
            </c:ext>
          </c:extLst>
        </c:ser>
        <c:ser>
          <c:idx val="1"/>
          <c:order val="1"/>
          <c:tx>
            <c:strRef>
              <c:f>rain!$Q$3</c:f>
              <c:strCache>
                <c:ptCount val="1"/>
                <c:pt idx="0">
                  <c:v>Β2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xVal>
            <c:numRef>
              <c:f>rain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rain!$R$3:$Y$3</c:f>
              <c:numCache>
                <c:formatCode>General</c:formatCode>
                <c:ptCount val="8"/>
                <c:pt idx="0">
                  <c:v>-0.19477475952341972</c:v>
                </c:pt>
                <c:pt idx="1">
                  <c:v>-0.43707898522440936</c:v>
                </c:pt>
                <c:pt idx="2">
                  <c:v>-0.56990091970536327</c:v>
                </c:pt>
                <c:pt idx="3">
                  <c:v>-0.78600622152182753</c:v>
                </c:pt>
                <c:pt idx="4">
                  <c:v>-0.88316761343048023</c:v>
                </c:pt>
                <c:pt idx="5">
                  <c:v>-0.90678332239576398</c:v>
                </c:pt>
                <c:pt idx="6">
                  <c:v>-0.92009046901874214</c:v>
                </c:pt>
                <c:pt idx="7">
                  <c:v>-0.9437706478591348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893-42C0-8BAC-05573E4C3DAB}"/>
            </c:ext>
          </c:extLst>
        </c:ser>
        <c:ser>
          <c:idx val="2"/>
          <c:order val="2"/>
          <c:tx>
            <c:strRef>
              <c:f>rain!$Q$4</c:f>
              <c:strCache>
                <c:ptCount val="1"/>
                <c:pt idx="0">
                  <c:v>ΣΜ1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xVal>
            <c:numRef>
              <c:f>rain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rain!$R$4:$Y$4</c:f>
              <c:numCache>
                <c:formatCode>General</c:formatCode>
                <c:ptCount val="8"/>
                <c:pt idx="0">
                  <c:v>0.16209682712110221</c:v>
                </c:pt>
                <c:pt idx="1">
                  <c:v>7.9219620285248274E-2</c:v>
                </c:pt>
                <c:pt idx="2">
                  <c:v>4.6245717139495865E-2</c:v>
                </c:pt>
                <c:pt idx="3">
                  <c:v>1.1448017171404958E-2</c:v>
                </c:pt>
                <c:pt idx="4">
                  <c:v>3.411300615573043E-3</c:v>
                </c:pt>
                <c:pt idx="5">
                  <c:v>2.1698457441670159E-3</c:v>
                </c:pt>
                <c:pt idx="6">
                  <c:v>1.5937578028047991E-3</c:v>
                </c:pt>
                <c:pt idx="7">
                  <c:v>7.8856565070095782E-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5893-42C0-8BAC-05573E4C3DAB}"/>
            </c:ext>
          </c:extLst>
        </c:ser>
        <c:ser>
          <c:idx val="3"/>
          <c:order val="3"/>
          <c:tx>
            <c:strRef>
              <c:f>rain!$Q$5</c:f>
              <c:strCache>
                <c:ptCount val="1"/>
                <c:pt idx="0">
                  <c:v>ΣΜ10</c:v>
                </c:pt>
              </c:strCache>
            </c:strRef>
          </c:tx>
          <c:spPr>
            <a:ln w="22225" cap="rnd">
              <a:solidFill>
                <a:schemeClr val="accent4"/>
              </a:solidFill>
              <a:round/>
            </a:ln>
            <a:effectLst/>
          </c:spPr>
          <c:marker>
            <c:symbol val="x"/>
            <c:size val="6"/>
            <c:spPr>
              <a:noFill/>
              <a:ln w="9525">
                <a:solidFill>
                  <a:schemeClr val="accent4"/>
                </a:solidFill>
                <a:round/>
              </a:ln>
              <a:effectLst/>
            </c:spPr>
          </c:marker>
          <c:xVal>
            <c:numRef>
              <c:f>rain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rain!$R$5:$Y$5</c:f>
              <c:numCache>
                <c:formatCode>General</c:formatCode>
                <c:ptCount val="8"/>
                <c:pt idx="0">
                  <c:v>0.18367220801869838</c:v>
                </c:pt>
                <c:pt idx="1">
                  <c:v>9.1789381514298163E-2</c:v>
                </c:pt>
                <c:pt idx="2">
                  <c:v>4.7032614893727405E-2</c:v>
                </c:pt>
                <c:pt idx="3">
                  <c:v>1.2149594120983926E-2</c:v>
                </c:pt>
                <c:pt idx="4">
                  <c:v>4.4681706707117019E-3</c:v>
                </c:pt>
                <c:pt idx="5">
                  <c:v>2.8629368565842358E-3</c:v>
                </c:pt>
                <c:pt idx="6">
                  <c:v>1.8532745305096521E-3</c:v>
                </c:pt>
                <c:pt idx="7">
                  <c:v>9.5556935937635677E-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5893-42C0-8BAC-05573E4C3DAB}"/>
            </c:ext>
          </c:extLst>
        </c:ser>
        <c:ser>
          <c:idx val="4"/>
          <c:order val="4"/>
          <c:tx>
            <c:strRef>
              <c:f>rain!$Q$6</c:f>
              <c:strCache>
                <c:ptCount val="1"/>
                <c:pt idx="0">
                  <c:v>ΣΜ24</c:v>
                </c:pt>
              </c:strCache>
            </c:strRef>
          </c:tx>
          <c:spPr>
            <a:ln w="22225" cap="rnd">
              <a:solidFill>
                <a:schemeClr val="accent5"/>
              </a:solidFill>
              <a:round/>
            </a:ln>
            <a:effectLst/>
          </c:spPr>
          <c:marker>
            <c:symbol val="star"/>
            <c:size val="6"/>
            <c:spPr>
              <a:noFill/>
              <a:ln w="9525">
                <a:solidFill>
                  <a:schemeClr val="accent5"/>
                </a:solidFill>
                <a:round/>
              </a:ln>
              <a:effectLst/>
            </c:spPr>
          </c:marker>
          <c:xVal>
            <c:numRef>
              <c:f>rain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rain!$R$6:$Y$6</c:f>
              <c:numCache>
                <c:formatCode>General</c:formatCode>
                <c:ptCount val="8"/>
                <c:pt idx="0">
                  <c:v>0.1836842292810357</c:v>
                </c:pt>
                <c:pt idx="1">
                  <c:v>9.1802758606827406E-2</c:v>
                </c:pt>
                <c:pt idx="2">
                  <c:v>4.7042344433265826E-2</c:v>
                </c:pt>
                <c:pt idx="3">
                  <c:v>1.2158454159870932E-2</c:v>
                </c:pt>
                <c:pt idx="4">
                  <c:v>4.4759848079065625E-3</c:v>
                </c:pt>
                <c:pt idx="5">
                  <c:v>2.8751974316872952E-3</c:v>
                </c:pt>
                <c:pt idx="6">
                  <c:v>1.8990242980688739E-3</c:v>
                </c:pt>
                <c:pt idx="7">
                  <c:v>1.0049613848310823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5893-42C0-8BAC-05573E4C3DAB}"/>
            </c:ext>
          </c:extLst>
        </c:ser>
        <c:ser>
          <c:idx val="5"/>
          <c:order val="5"/>
          <c:tx>
            <c:strRef>
              <c:f>rain!$Q$7</c:f>
              <c:strCache>
                <c:ptCount val="1"/>
                <c:pt idx="0">
                  <c:v>ΑΜ</c:v>
                </c:pt>
              </c:strCache>
            </c:strRef>
          </c:tx>
          <c:spPr>
            <a:ln w="2222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</a:ln>
              <a:effectLst/>
            </c:spPr>
          </c:marker>
          <c:xVal>
            <c:numRef>
              <c:f>rain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rain!$R$7:$Y$7</c:f>
              <c:numCache>
                <c:formatCode>General</c:formatCode>
                <c:ptCount val="8"/>
                <c:pt idx="0">
                  <c:v>8.3798201287702545E-3</c:v>
                </c:pt>
                <c:pt idx="1">
                  <c:v>-5.697504665516806E-2</c:v>
                </c:pt>
                <c:pt idx="2">
                  <c:v>-4.1862539624337843E-2</c:v>
                </c:pt>
                <c:pt idx="3">
                  <c:v>-8.1027402239623389E-2</c:v>
                </c:pt>
                <c:pt idx="4">
                  <c:v>-8.3473350675407287E-2</c:v>
                </c:pt>
                <c:pt idx="5">
                  <c:v>-0.12017747023673762</c:v>
                </c:pt>
                <c:pt idx="6">
                  <c:v>-0.11072965709656878</c:v>
                </c:pt>
                <c:pt idx="7">
                  <c:v>-4.1877714224357147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5893-42C0-8BAC-05573E4C3DAB}"/>
            </c:ext>
          </c:extLst>
        </c:ser>
        <c:ser>
          <c:idx val="6"/>
          <c:order val="6"/>
          <c:tx>
            <c:strRef>
              <c:f>rain!$Q$8</c:f>
              <c:strCache>
                <c:ptCount val="1"/>
                <c:pt idx="0">
                  <c:v>ΜΠ</c:v>
                </c:pt>
              </c:strCache>
            </c:strRef>
          </c:tx>
          <c:spPr>
            <a:ln w="2222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plus"/>
            <c:size val="6"/>
            <c:spPr>
              <a:noFill/>
              <a:ln w="9525">
                <a:solidFill>
                  <a:schemeClr val="accent1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rain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rain!$R$8:$Y$8</c:f>
              <c:numCache>
                <c:formatCode>0.000</c:formatCode>
                <c:ptCount val="8"/>
                <c:pt idx="0">
                  <c:v>-0.29443887786904827</c:v>
                </c:pt>
                <c:pt idx="1">
                  <c:v>-3.750811852211252E-2</c:v>
                </c:pt>
                <c:pt idx="2">
                  <c:v>-0.40109498150897238</c:v>
                </c:pt>
                <c:pt idx="3">
                  <c:v>-0.4170230876614023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5893-42C0-8BAC-05573E4C3DAB}"/>
            </c:ext>
          </c:extLst>
        </c:ser>
        <c:ser>
          <c:idx val="7"/>
          <c:order val="7"/>
          <c:tx>
            <c:strRef>
              <c:f>rain!$Q$9</c:f>
              <c:strCache>
                <c:ptCount val="1"/>
                <c:pt idx="0">
                  <c:v>ΣΠΜ1</c:v>
                </c:pt>
              </c:strCache>
            </c:strRef>
          </c:tx>
          <c:spPr>
            <a:ln w="2222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dot"/>
            <c:size val="6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rain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rain!$R$9:$Y$9</c:f>
              <c:numCache>
                <c:formatCode>0.000</c:formatCode>
                <c:ptCount val="8"/>
                <c:pt idx="0">
                  <c:v>0.19867853139043601</c:v>
                </c:pt>
                <c:pt idx="1">
                  <c:v>0.54689430822881002</c:v>
                </c:pt>
                <c:pt idx="2">
                  <c:v>9.4229288574715464E-2</c:v>
                </c:pt>
                <c:pt idx="3">
                  <c:v>8.4964840414244777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5893-42C0-8BAC-05573E4C3DAB}"/>
            </c:ext>
          </c:extLst>
        </c:ser>
        <c:ser>
          <c:idx val="8"/>
          <c:order val="8"/>
          <c:tx>
            <c:strRef>
              <c:f>rain!$Q$10</c:f>
              <c:strCache>
                <c:ptCount val="1"/>
                <c:pt idx="0">
                  <c:v>ΣΠΜ10</c:v>
                </c:pt>
              </c:strCache>
            </c:strRef>
          </c:tx>
          <c:spPr>
            <a:ln w="2222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dash"/>
            <c:size val="6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rain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rain!$R$10:$Y$10</c:f>
              <c:numCache>
                <c:formatCode>0.000</c:formatCode>
                <c:ptCount val="8"/>
                <c:pt idx="0">
                  <c:v>0.2002785052212871</c:v>
                </c:pt>
                <c:pt idx="1">
                  <c:v>0.6272945883643678</c:v>
                </c:pt>
                <c:pt idx="2">
                  <c:v>9.5210315868036521E-2</c:v>
                </c:pt>
                <c:pt idx="3">
                  <c:v>8.4964280038004047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5893-42C0-8BAC-05573E4C3DAB}"/>
            </c:ext>
          </c:extLst>
        </c:ser>
        <c:ser>
          <c:idx val="9"/>
          <c:order val="9"/>
          <c:tx>
            <c:strRef>
              <c:f>rain!$Q$11</c:f>
              <c:strCache>
                <c:ptCount val="1"/>
                <c:pt idx="0">
                  <c:v>ΣΠΜ24</c:v>
                </c:pt>
              </c:strCache>
            </c:strRef>
          </c:tx>
          <c:spPr>
            <a:ln w="2222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rain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rain!$R$11:$Y$11</c:f>
              <c:numCache>
                <c:formatCode>0.000</c:formatCode>
                <c:ptCount val="8"/>
                <c:pt idx="0">
                  <c:v>0.20036881453983824</c:v>
                </c:pt>
                <c:pt idx="1">
                  <c:v>0.62729367991796359</c:v>
                </c:pt>
                <c:pt idx="2">
                  <c:v>9.5300893704689402E-2</c:v>
                </c:pt>
                <c:pt idx="3">
                  <c:v>8.499016778286568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5893-42C0-8BAC-05573E4C3DAB}"/>
            </c:ext>
          </c:extLst>
        </c:ser>
        <c:ser>
          <c:idx val="10"/>
          <c:order val="10"/>
          <c:tx>
            <c:strRef>
              <c:f>rain!$Q$12</c:f>
              <c:strCache>
                <c:ptCount val="1"/>
                <c:pt idx="0">
                  <c:v>ΣΠΑΜ</c:v>
                </c:pt>
              </c:strCache>
            </c:strRef>
          </c:tx>
          <c:spPr>
            <a:ln w="2222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  <a:round/>
              </a:ln>
              <a:effectLst/>
            </c:spPr>
          </c:marker>
          <c:xVal>
            <c:numRef>
              <c:f>rain!$R$1:$Y$1</c:f>
              <c:numCache>
                <c:formatCode>General</c:formatCode>
                <c:ptCount val="8"/>
                <c:pt idx="0">
                  <c:v>3</c:v>
                </c:pt>
                <c:pt idx="1">
                  <c:v>6</c:v>
                </c:pt>
                <c:pt idx="2">
                  <c:v>9</c:v>
                </c:pt>
                <c:pt idx="3">
                  <c:v>12</c:v>
                </c:pt>
                <c:pt idx="4">
                  <c:v>15</c:v>
                </c:pt>
                <c:pt idx="5">
                  <c:v>18</c:v>
                </c:pt>
                <c:pt idx="6">
                  <c:v>21</c:v>
                </c:pt>
                <c:pt idx="7">
                  <c:v>24</c:v>
                </c:pt>
              </c:numCache>
            </c:numRef>
          </c:xVal>
          <c:yVal>
            <c:numRef>
              <c:f>rain!$R$12:$Y$12</c:f>
              <c:numCache>
                <c:formatCode>0.000</c:formatCode>
                <c:ptCount val="8"/>
                <c:pt idx="0">
                  <c:v>6.3540634646426758E-2</c:v>
                </c:pt>
                <c:pt idx="1">
                  <c:v>0.18252238981005517</c:v>
                </c:pt>
                <c:pt idx="2">
                  <c:v>9.677020963624583E-2</c:v>
                </c:pt>
                <c:pt idx="3">
                  <c:v>7.5196014849013115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5893-42C0-8BAC-05573E4C3D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2481280"/>
        <c:axId val="162483200"/>
      </c:scatterChart>
      <c:valAx>
        <c:axId val="162481280"/>
        <c:scaling>
          <c:orientation val="minMax"/>
          <c:max val="2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χρονικο βαθος προγνωσης</a:t>
                </a:r>
                <a:endParaRPr lang="el-G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2483200"/>
        <c:crosses val="autoZero"/>
        <c:crossBetween val="midCat"/>
        <c:majorUnit val="4"/>
      </c:valAx>
      <c:valAx>
        <c:axId val="162483200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 sz="900" b="0" i="0" cap="all" baseline="0">
                    <a:effectLst/>
                  </a:rPr>
                  <a:t>συντελεστης αποδοσησ </a:t>
                </a:r>
                <a:r>
                  <a:rPr lang="en-US" sz="900" b="0" i="0" cap="all" baseline="0">
                    <a:effectLst/>
                  </a:rPr>
                  <a:t>nash-sutcliffe</a:t>
                </a:r>
                <a:endParaRPr lang="el-GR" sz="20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248128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rgbClr val="0070C0"/>
      </a:solidFill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529978328919272E-2"/>
          <c:y val="3.4671812033682602E-2"/>
          <c:w val="0.8764388137974447"/>
          <c:h val="0.69508382759455711"/>
        </c:manualLayout>
      </c:layout>
      <c:scatterChart>
        <c:scatterStyle val="lineMarker"/>
        <c:varyColors val="0"/>
        <c:ser>
          <c:idx val="0"/>
          <c:order val="0"/>
          <c:tx>
            <c:v>Θερμοκρασία ΣM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Συγκριτικά!$B$7</c:f>
              <c:numCache>
                <c:formatCode>General</c:formatCode>
                <c:ptCount val="1"/>
                <c:pt idx="0">
                  <c:v>0.63641213702140287</c:v>
                </c:pt>
              </c:numCache>
            </c:numRef>
          </c:xVal>
          <c:yVal>
            <c:numRef>
              <c:f>Συγκριτικά!$B$5</c:f>
              <c:numCache>
                <c:formatCode>General</c:formatCode>
                <c:ptCount val="1"/>
                <c:pt idx="0">
                  <c:v>0.829732613310107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CCA-4B46-9AE8-966160BBBF70}"/>
            </c:ext>
          </c:extLst>
        </c:ser>
        <c:ser>
          <c:idx val="1"/>
          <c:order val="1"/>
          <c:tx>
            <c:v>x=y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Συγκριτικά!$B$25:$C$25</c:f>
              <c:numCache>
                <c:formatCode>General</c:formatCode>
                <c:ptCount val="2"/>
                <c:pt idx="0">
                  <c:v>-0.4</c:v>
                </c:pt>
                <c:pt idx="1">
                  <c:v>1</c:v>
                </c:pt>
              </c:numCache>
            </c:numRef>
          </c:xVal>
          <c:yVal>
            <c:numRef>
              <c:f>Συγκριτικά!$B$26:$C$26</c:f>
              <c:numCache>
                <c:formatCode>General</c:formatCode>
                <c:ptCount val="2"/>
                <c:pt idx="0">
                  <c:v>-0.4</c:v>
                </c:pt>
                <c:pt idx="1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1CCA-4B46-9AE8-966160BBBF70}"/>
            </c:ext>
          </c:extLst>
        </c:ser>
        <c:ser>
          <c:idx val="2"/>
          <c:order val="2"/>
          <c:tx>
            <c:v>Ατμοσφαιρική πίεση Σ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Συγκριτικά!$B$11</c:f>
              <c:numCache>
                <c:formatCode>General</c:formatCode>
                <c:ptCount val="1"/>
                <c:pt idx="0">
                  <c:v>0.85308837674345361</c:v>
                </c:pt>
              </c:numCache>
            </c:numRef>
          </c:xVal>
          <c:yVal>
            <c:numRef>
              <c:f>Συγκριτικά!$B$9</c:f>
              <c:numCache>
                <c:formatCode>General</c:formatCode>
                <c:ptCount val="1"/>
                <c:pt idx="0">
                  <c:v>0.9335932784994556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1CCA-4B46-9AE8-966160BBBF70}"/>
            </c:ext>
          </c:extLst>
        </c:ser>
        <c:ser>
          <c:idx val="3"/>
          <c:order val="3"/>
          <c:tx>
            <c:v>Ταχύτητα ανέμου Σ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xVal>
            <c:numRef>
              <c:f>Συγκριτικά!$B$15</c:f>
              <c:numCache>
                <c:formatCode>General</c:formatCode>
                <c:ptCount val="1"/>
                <c:pt idx="0">
                  <c:v>0.23925564805176094</c:v>
                </c:pt>
              </c:numCache>
            </c:numRef>
          </c:xVal>
          <c:yVal>
            <c:numRef>
              <c:f>Συγκριτικά!$B$13</c:f>
              <c:numCache>
                <c:formatCode>General</c:formatCode>
                <c:ptCount val="1"/>
                <c:pt idx="0">
                  <c:v>0.4775646836211305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1CCA-4B46-9AE8-966160BBBF70}"/>
            </c:ext>
          </c:extLst>
        </c:ser>
        <c:ser>
          <c:idx val="4"/>
          <c:order val="4"/>
          <c:tx>
            <c:v>Συνολική κατακρήμνιση Σ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xVal>
            <c:numRef>
              <c:f>Συγκριτικά!$B$19</c:f>
              <c:numCache>
                <c:formatCode>General</c:formatCode>
                <c:ptCount val="1"/>
                <c:pt idx="0">
                  <c:v>-0.29443887786904827</c:v>
                </c:pt>
              </c:numCache>
            </c:numRef>
          </c:xVal>
          <c:yVal>
            <c:numRef>
              <c:f>Συγκριτικά!$B$17</c:f>
              <c:numCache>
                <c:formatCode>General</c:formatCode>
                <c:ptCount val="1"/>
                <c:pt idx="0">
                  <c:v>0.183684229281035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1CCA-4B46-9AE8-966160BBBF70}"/>
            </c:ext>
          </c:extLst>
        </c:ser>
        <c:ser>
          <c:idx val="5"/>
          <c:order val="5"/>
          <c:tx>
            <c:v>Θερμοκρασία ΣΠ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xVal>
            <c:numRef>
              <c:f>Συγκριτικά!$B$7</c:f>
              <c:numCache>
                <c:formatCode>General</c:formatCode>
                <c:ptCount val="1"/>
                <c:pt idx="0">
                  <c:v>0.63641213702140287</c:v>
                </c:pt>
              </c:numCache>
            </c:numRef>
          </c:xVal>
          <c:yVal>
            <c:numRef>
              <c:f>Συγκριτικά!$B$6</c:f>
              <c:numCache>
                <c:formatCode>General</c:formatCode>
                <c:ptCount val="1"/>
                <c:pt idx="0">
                  <c:v>0.8689553219614987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1CCA-4B46-9AE8-966160BBBF70}"/>
            </c:ext>
          </c:extLst>
        </c:ser>
        <c:ser>
          <c:idx val="6"/>
          <c:order val="6"/>
          <c:tx>
            <c:v>Ατμοσφαιρική πίεση ΣΠ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xVal>
            <c:numRef>
              <c:f>Συγκριτικά!$B$11</c:f>
              <c:numCache>
                <c:formatCode>General</c:formatCode>
                <c:ptCount val="1"/>
                <c:pt idx="0">
                  <c:v>0.85308837674345361</c:v>
                </c:pt>
              </c:numCache>
            </c:numRef>
          </c:xVal>
          <c:yVal>
            <c:numRef>
              <c:f>Συγκριτικά!$B$10</c:f>
              <c:numCache>
                <c:formatCode>General</c:formatCode>
                <c:ptCount val="1"/>
                <c:pt idx="0">
                  <c:v>0.9195659499660575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1CCA-4B46-9AE8-966160BBBF70}"/>
            </c:ext>
          </c:extLst>
        </c:ser>
        <c:ser>
          <c:idx val="7"/>
          <c:order val="7"/>
          <c:tx>
            <c:v>Ταχύτητα ανέμου ΣΠ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xVal>
            <c:numRef>
              <c:f>Συγκριτικά!$B$15</c:f>
              <c:numCache>
                <c:formatCode>General</c:formatCode>
                <c:ptCount val="1"/>
                <c:pt idx="0">
                  <c:v>0.23925564805176094</c:v>
                </c:pt>
              </c:numCache>
            </c:numRef>
          </c:xVal>
          <c:yVal>
            <c:numRef>
              <c:f>Συγκριτικά!$B$14</c:f>
              <c:numCache>
                <c:formatCode>General</c:formatCode>
                <c:ptCount val="1"/>
                <c:pt idx="0">
                  <c:v>0.513203753285688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1CCA-4B46-9AE8-966160BBBF70}"/>
            </c:ext>
          </c:extLst>
        </c:ser>
        <c:ser>
          <c:idx val="8"/>
          <c:order val="8"/>
          <c:tx>
            <c:v>Συνολική κατακρήμνιση ΣΠ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xVal>
            <c:numRef>
              <c:f>Συγκριτικά!$B$19</c:f>
              <c:numCache>
                <c:formatCode>General</c:formatCode>
                <c:ptCount val="1"/>
                <c:pt idx="0">
                  <c:v>-0.29443887786904827</c:v>
                </c:pt>
              </c:numCache>
            </c:numRef>
          </c:xVal>
          <c:yVal>
            <c:numRef>
              <c:f>Συγκριτικά!$B$18</c:f>
              <c:numCache>
                <c:formatCode>General</c:formatCode>
                <c:ptCount val="1"/>
                <c:pt idx="0">
                  <c:v>0.2003688145398382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1CCA-4B46-9AE8-966160BBBF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2880128"/>
        <c:axId val="162894592"/>
      </c:scatterChart>
      <c:valAx>
        <c:axId val="162880128"/>
        <c:scaling>
          <c:orientation val="minMax"/>
          <c:max val="1"/>
          <c:min val="-0.4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ΣΥΝΤΕΛΕΣΤΗΣ ΑΠΟΔΟΣΗΣ </a:t>
                </a:r>
                <a:r>
                  <a:rPr lang="en-US"/>
                  <a:t>NASH-SUTCLIFFE </a:t>
                </a:r>
                <a:r>
                  <a:rPr lang="el-GR"/>
                  <a:t>ΜΕΤΕΩΡΟΛΟΓΙΚΗΣ ΠΡΟΒΛΕΨΗΣ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2894592"/>
        <c:crosses val="autoZero"/>
        <c:crossBetween val="midCat"/>
        <c:majorUnit val="0.2"/>
      </c:valAx>
      <c:valAx>
        <c:axId val="162894592"/>
        <c:scaling>
          <c:orientation val="minMax"/>
          <c:max val="1"/>
          <c:min val="-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ΣΥΝΤΕΛΕΣΤΗΣ ΑΠΟΔΟΣΗΣ </a:t>
                </a:r>
                <a:r>
                  <a:rPr lang="en-US"/>
                  <a:t>NASH-SUTCLIFFE </a:t>
                </a:r>
                <a:r>
                  <a:rPr lang="el-GR"/>
                  <a:t>ΠΡΌΓΝΩΣΗΣ ΜΕΘΟΔΟΥ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288012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8.283168793643143E-3"/>
          <c:y val="0.82001494295386268"/>
          <c:w val="0.97139417288706953"/>
          <c:h val="0.166098804712229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FF0000"/>
      </a:solidFill>
      <a:round/>
    </a:ln>
    <a:effectLst/>
  </c:spPr>
  <c:txPr>
    <a:bodyPr/>
    <a:lstStyle/>
    <a:p>
      <a:pPr>
        <a:defRPr sz="900"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529978328919272E-2"/>
          <c:y val="2.0930559483467212E-2"/>
          <c:w val="0.8764388137974447"/>
          <c:h val="0.71250598543820642"/>
        </c:manualLayout>
      </c:layout>
      <c:scatterChart>
        <c:scatterStyle val="lineMarker"/>
        <c:varyColors val="0"/>
        <c:ser>
          <c:idx val="0"/>
          <c:order val="0"/>
          <c:tx>
            <c:v>Θερμοκρασία Σ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Συγκριτικά!$C$7</c:f>
              <c:numCache>
                <c:formatCode>General</c:formatCode>
                <c:ptCount val="1"/>
                <c:pt idx="0">
                  <c:v>0.73512940446727515</c:v>
                </c:pt>
              </c:numCache>
            </c:numRef>
          </c:xVal>
          <c:yVal>
            <c:numRef>
              <c:f>Συγκριτικά!$C$5</c:f>
              <c:numCache>
                <c:formatCode>General</c:formatCode>
                <c:ptCount val="1"/>
                <c:pt idx="0">
                  <c:v>0.709949342468268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398-4364-8CE4-A14271E1F6F0}"/>
            </c:ext>
          </c:extLst>
        </c:ser>
        <c:ser>
          <c:idx val="1"/>
          <c:order val="1"/>
          <c:tx>
            <c:v>x=y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Συγκριτικά!$B$25:$C$25</c:f>
              <c:numCache>
                <c:formatCode>General</c:formatCode>
                <c:ptCount val="2"/>
                <c:pt idx="0">
                  <c:v>-0.4</c:v>
                </c:pt>
                <c:pt idx="1">
                  <c:v>1</c:v>
                </c:pt>
              </c:numCache>
            </c:numRef>
          </c:xVal>
          <c:yVal>
            <c:numRef>
              <c:f>Συγκριτικά!$B$26:$C$26</c:f>
              <c:numCache>
                <c:formatCode>General</c:formatCode>
                <c:ptCount val="2"/>
                <c:pt idx="0">
                  <c:v>-0.4</c:v>
                </c:pt>
                <c:pt idx="1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3398-4364-8CE4-A14271E1F6F0}"/>
            </c:ext>
          </c:extLst>
        </c:ser>
        <c:ser>
          <c:idx val="2"/>
          <c:order val="2"/>
          <c:tx>
            <c:v>Ατμοσφαιρική πίεση Σ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Συγκριτικά!$C$11</c:f>
              <c:numCache>
                <c:formatCode>General</c:formatCode>
                <c:ptCount val="1"/>
                <c:pt idx="0">
                  <c:v>0.92630192287417401</c:v>
                </c:pt>
              </c:numCache>
            </c:numRef>
          </c:xVal>
          <c:yVal>
            <c:numRef>
              <c:f>Συγκριτικά!$C$9</c:f>
              <c:numCache>
                <c:formatCode>General</c:formatCode>
                <c:ptCount val="1"/>
                <c:pt idx="0">
                  <c:v>0.8903089292551502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3398-4364-8CE4-A14271E1F6F0}"/>
            </c:ext>
          </c:extLst>
        </c:ser>
        <c:ser>
          <c:idx val="3"/>
          <c:order val="3"/>
          <c:tx>
            <c:v>Ταχύτητα ανέμου Σ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xVal>
            <c:numRef>
              <c:f>Συγκριτικά!$C$15</c:f>
              <c:numCache>
                <c:formatCode>General</c:formatCode>
                <c:ptCount val="1"/>
                <c:pt idx="0">
                  <c:v>0.25438692944912461</c:v>
                </c:pt>
              </c:numCache>
            </c:numRef>
          </c:xVal>
          <c:yVal>
            <c:numRef>
              <c:f>Συγκριτικά!$C$13</c:f>
              <c:numCache>
                <c:formatCode>General</c:formatCode>
                <c:ptCount val="1"/>
                <c:pt idx="0">
                  <c:v>0.3237109996702727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3398-4364-8CE4-A14271E1F6F0}"/>
            </c:ext>
          </c:extLst>
        </c:ser>
        <c:ser>
          <c:idx val="4"/>
          <c:order val="4"/>
          <c:tx>
            <c:v>Συνολική κατακρήμνιση Σ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xVal>
            <c:numRef>
              <c:f>Συγκριτικά!$C$19</c:f>
              <c:numCache>
                <c:formatCode>General</c:formatCode>
                <c:ptCount val="1"/>
                <c:pt idx="0">
                  <c:v>-3.750811852211252E-2</c:v>
                </c:pt>
              </c:numCache>
            </c:numRef>
          </c:xVal>
          <c:yVal>
            <c:numRef>
              <c:f>Συγκριτικά!$C$17</c:f>
              <c:numCache>
                <c:formatCode>General</c:formatCode>
                <c:ptCount val="1"/>
                <c:pt idx="0">
                  <c:v>9.1802758606827406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3398-4364-8CE4-A14271E1F6F0}"/>
            </c:ext>
          </c:extLst>
        </c:ser>
        <c:ser>
          <c:idx val="5"/>
          <c:order val="5"/>
          <c:tx>
            <c:v>Θερμοκρασία ΣΠ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xVal>
            <c:numRef>
              <c:f>Συγκριτικά!$C$7</c:f>
              <c:numCache>
                <c:formatCode>General</c:formatCode>
                <c:ptCount val="1"/>
                <c:pt idx="0">
                  <c:v>0.73512940446727515</c:v>
                </c:pt>
              </c:numCache>
            </c:numRef>
          </c:xVal>
          <c:yVal>
            <c:numRef>
              <c:f>Συγκριτικά!$C$6</c:f>
              <c:numCache>
                <c:formatCode>General</c:formatCode>
                <c:ptCount val="1"/>
                <c:pt idx="0">
                  <c:v>0.851689225769614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3398-4364-8CE4-A14271E1F6F0}"/>
            </c:ext>
          </c:extLst>
        </c:ser>
        <c:ser>
          <c:idx val="6"/>
          <c:order val="6"/>
          <c:tx>
            <c:v>Ατμοσφαιρική πίεση ΣΠ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xVal>
            <c:numRef>
              <c:f>Συγκριτικά!$C$11</c:f>
              <c:numCache>
                <c:formatCode>General</c:formatCode>
                <c:ptCount val="1"/>
                <c:pt idx="0">
                  <c:v>0.92630192287417401</c:v>
                </c:pt>
              </c:numCache>
            </c:numRef>
          </c:xVal>
          <c:yVal>
            <c:numRef>
              <c:f>Συγκριτικά!$C$10</c:f>
              <c:numCache>
                <c:formatCode>General</c:formatCode>
                <c:ptCount val="1"/>
                <c:pt idx="0">
                  <c:v>0.961173987530169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3398-4364-8CE4-A14271E1F6F0}"/>
            </c:ext>
          </c:extLst>
        </c:ser>
        <c:ser>
          <c:idx val="7"/>
          <c:order val="7"/>
          <c:tx>
            <c:v>Ταχύτητα ανέμου ΣΠ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xVal>
            <c:numRef>
              <c:f>Συγκριτικά!$C$15</c:f>
              <c:numCache>
                <c:formatCode>General</c:formatCode>
                <c:ptCount val="1"/>
                <c:pt idx="0">
                  <c:v>0.25438692944912461</c:v>
                </c:pt>
              </c:numCache>
            </c:numRef>
          </c:xVal>
          <c:yVal>
            <c:numRef>
              <c:f>Συγκριτικά!$C$14</c:f>
              <c:numCache>
                <c:formatCode>General</c:formatCode>
                <c:ptCount val="1"/>
                <c:pt idx="0">
                  <c:v>0.440947723992405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3398-4364-8CE4-A14271E1F6F0}"/>
            </c:ext>
          </c:extLst>
        </c:ser>
        <c:ser>
          <c:idx val="8"/>
          <c:order val="8"/>
          <c:tx>
            <c:v>Συνολική κατακρήμνιση ΣΠ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xVal>
            <c:numRef>
              <c:f>Συγκριτικά!$C$19</c:f>
              <c:numCache>
                <c:formatCode>General</c:formatCode>
                <c:ptCount val="1"/>
                <c:pt idx="0">
                  <c:v>-3.750811852211252E-2</c:v>
                </c:pt>
              </c:numCache>
            </c:numRef>
          </c:xVal>
          <c:yVal>
            <c:numRef>
              <c:f>Συγκριτικά!$C$18</c:f>
              <c:numCache>
                <c:formatCode>General</c:formatCode>
                <c:ptCount val="1"/>
                <c:pt idx="0">
                  <c:v>0.6272936799179635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3398-4364-8CE4-A14271E1F6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3380224"/>
        <c:axId val="163394688"/>
      </c:scatterChart>
      <c:valAx>
        <c:axId val="163380224"/>
        <c:scaling>
          <c:orientation val="minMax"/>
          <c:max val="1"/>
          <c:min val="-0.4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ΣΥΝΤΕΛΕΣΤΗΣ ΑΠΟΔΟΣΗΣ </a:t>
                </a:r>
                <a:r>
                  <a:rPr lang="en-US"/>
                  <a:t>NASH-SUTCLIFFE </a:t>
                </a:r>
                <a:r>
                  <a:rPr lang="el-GR"/>
                  <a:t>ΜΕΤΕΩΡΟΛΟΓΙΚΗΣ ΠΡΟΒΛΕΨΗΣ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3394688"/>
        <c:crosses val="autoZero"/>
        <c:crossBetween val="midCat"/>
        <c:majorUnit val="0.2"/>
      </c:valAx>
      <c:valAx>
        <c:axId val="163394688"/>
        <c:scaling>
          <c:orientation val="minMax"/>
          <c:max val="1"/>
          <c:min val="-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ΣΥΝΤΕΛΕΣΤΗΣ ΑΠΟΔΟΣΗΣ </a:t>
                </a:r>
                <a:r>
                  <a:rPr lang="en-US"/>
                  <a:t>NASH-SYUCLIFFE </a:t>
                </a:r>
                <a:r>
                  <a:rPr lang="el-GR"/>
                  <a:t>ΠΡΌΓΝΩΣΗΣ ΜΕΘΟΔΟΥ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3380224"/>
        <c:crosses val="autoZero"/>
        <c:crossBetween val="midCat"/>
        <c:majorUnit val="0.2"/>
      </c:val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8.283168793643143E-3"/>
          <c:y val="0.81431355161075158"/>
          <c:w val="0.98343366241271357"/>
          <c:h val="0.1730839726239436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00B050"/>
      </a:solidFill>
      <a:round/>
    </a:ln>
    <a:effectLst/>
  </c:spPr>
  <c:txPr>
    <a:bodyPr/>
    <a:lstStyle/>
    <a:p>
      <a:pPr>
        <a:defRPr sz="900"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082590898146209E-2"/>
          <c:y val="2.8933092224231471E-2"/>
          <c:w val="0.90292569075386164"/>
          <c:h val="0.71241673904685821"/>
        </c:manualLayout>
      </c:layout>
      <c:scatterChart>
        <c:scatterStyle val="lineMarker"/>
        <c:varyColors val="0"/>
        <c:ser>
          <c:idx val="0"/>
          <c:order val="0"/>
          <c:tx>
            <c:v>Θερμοκρασία Σ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Συγκριτικά!$E$7</c:f>
              <c:numCache>
                <c:formatCode>General</c:formatCode>
                <c:ptCount val="1"/>
                <c:pt idx="0">
                  <c:v>0.64856981391001511</c:v>
                </c:pt>
              </c:numCache>
            </c:numRef>
          </c:xVal>
          <c:yVal>
            <c:numRef>
              <c:f>Συγκριτικά!$E$5</c:f>
              <c:numCache>
                <c:formatCode>General</c:formatCode>
                <c:ptCount val="1"/>
                <c:pt idx="0">
                  <c:v>0.5880824806107619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DBE-48CF-9CA2-B4D8BD2ADD04}"/>
            </c:ext>
          </c:extLst>
        </c:ser>
        <c:ser>
          <c:idx val="1"/>
          <c:order val="1"/>
          <c:tx>
            <c:v>x=y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2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Συγκριτικά!$B$25:$C$25</c:f>
              <c:numCache>
                <c:formatCode>General</c:formatCode>
                <c:ptCount val="2"/>
                <c:pt idx="0">
                  <c:v>-0.4</c:v>
                </c:pt>
                <c:pt idx="1">
                  <c:v>1</c:v>
                </c:pt>
              </c:numCache>
            </c:numRef>
          </c:xVal>
          <c:yVal>
            <c:numRef>
              <c:f>Συγκριτικά!$B$26:$C$26</c:f>
              <c:numCache>
                <c:formatCode>General</c:formatCode>
                <c:ptCount val="2"/>
                <c:pt idx="0">
                  <c:v>-0.4</c:v>
                </c:pt>
                <c:pt idx="1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1DBE-48CF-9CA2-B4D8BD2ADD04}"/>
            </c:ext>
          </c:extLst>
        </c:ser>
        <c:ser>
          <c:idx val="2"/>
          <c:order val="2"/>
          <c:tx>
            <c:v>Ατμοσφαιρική πίεση Σ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Συγκριτικά!$E$11</c:f>
              <c:numCache>
                <c:formatCode>General</c:formatCode>
                <c:ptCount val="1"/>
                <c:pt idx="0">
                  <c:v>0.89416074093804432</c:v>
                </c:pt>
              </c:numCache>
            </c:numRef>
          </c:xVal>
          <c:yVal>
            <c:numRef>
              <c:f>Συγκριτικά!$E$9</c:f>
              <c:numCache>
                <c:formatCode>General</c:formatCode>
                <c:ptCount val="1"/>
                <c:pt idx="0">
                  <c:v>0.7646381578607526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1DBE-48CF-9CA2-B4D8BD2ADD04}"/>
            </c:ext>
          </c:extLst>
        </c:ser>
        <c:ser>
          <c:idx val="3"/>
          <c:order val="3"/>
          <c:tx>
            <c:v>Ταχύτητα ανέμου Σ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xVal>
            <c:numRef>
              <c:f>Συγκριτικά!$E$15</c:f>
              <c:numCache>
                <c:formatCode>General</c:formatCode>
                <c:ptCount val="1"/>
                <c:pt idx="0">
                  <c:v>0.31961205579254337</c:v>
                </c:pt>
              </c:numCache>
            </c:numRef>
          </c:xVal>
          <c:yVal>
            <c:numRef>
              <c:f>Συγκριτικά!$E$13</c:f>
              <c:numCache>
                <c:formatCode>General</c:formatCode>
                <c:ptCount val="1"/>
                <c:pt idx="0">
                  <c:v>0.190852032669761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1DBE-48CF-9CA2-B4D8BD2ADD04}"/>
            </c:ext>
          </c:extLst>
        </c:ser>
        <c:ser>
          <c:idx val="4"/>
          <c:order val="4"/>
          <c:tx>
            <c:v>Συνολική κατακρήμνιση Σ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xVal>
            <c:numRef>
              <c:f>Συγκριτικά!$E$19</c:f>
              <c:numCache>
                <c:formatCode>General</c:formatCode>
                <c:ptCount val="1"/>
                <c:pt idx="0">
                  <c:v>-0.41702308766140234</c:v>
                </c:pt>
              </c:numCache>
            </c:numRef>
          </c:xVal>
          <c:yVal>
            <c:numRef>
              <c:f>Συγκριτικά!$E$17</c:f>
              <c:numCache>
                <c:formatCode>General</c:formatCode>
                <c:ptCount val="1"/>
                <c:pt idx="0">
                  <c:v>1.215845415987093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1DBE-48CF-9CA2-B4D8BD2ADD04}"/>
            </c:ext>
          </c:extLst>
        </c:ser>
        <c:ser>
          <c:idx val="5"/>
          <c:order val="5"/>
          <c:tx>
            <c:v>Θερμοκρασία ΣΠ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xVal>
            <c:numRef>
              <c:f>Συγκριτικά!$E$7</c:f>
              <c:numCache>
                <c:formatCode>General</c:formatCode>
                <c:ptCount val="1"/>
                <c:pt idx="0">
                  <c:v>0.64856981391001511</c:v>
                </c:pt>
              </c:numCache>
            </c:numRef>
          </c:xVal>
          <c:yVal>
            <c:numRef>
              <c:f>Συγκριτικά!$E$6</c:f>
              <c:numCache>
                <c:formatCode>General</c:formatCode>
                <c:ptCount val="1"/>
                <c:pt idx="0">
                  <c:v>0.7343421498526927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1DBE-48CF-9CA2-B4D8BD2ADD04}"/>
            </c:ext>
          </c:extLst>
        </c:ser>
        <c:ser>
          <c:idx val="6"/>
          <c:order val="6"/>
          <c:tx>
            <c:v>Ατμοσφαιρική πίεση ΣΠ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xVal>
            <c:numRef>
              <c:f>Συγκριτικά!$E$11</c:f>
              <c:numCache>
                <c:formatCode>General</c:formatCode>
                <c:ptCount val="1"/>
                <c:pt idx="0">
                  <c:v>0.89416074093804432</c:v>
                </c:pt>
              </c:numCache>
            </c:numRef>
          </c:xVal>
          <c:yVal>
            <c:numRef>
              <c:f>Συγκριτικά!$E$10</c:f>
              <c:numCache>
                <c:formatCode>General</c:formatCode>
                <c:ptCount val="1"/>
                <c:pt idx="0">
                  <c:v>0.9234108996630241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1DBE-48CF-9CA2-B4D8BD2ADD04}"/>
            </c:ext>
          </c:extLst>
        </c:ser>
        <c:ser>
          <c:idx val="7"/>
          <c:order val="7"/>
          <c:tx>
            <c:v>Ταχύτητα ανέμου ΣΠ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xVal>
            <c:numRef>
              <c:f>Συγκριτικά!$E$15</c:f>
              <c:numCache>
                <c:formatCode>General</c:formatCode>
                <c:ptCount val="1"/>
                <c:pt idx="0">
                  <c:v>0.31961205579254337</c:v>
                </c:pt>
              </c:numCache>
            </c:numRef>
          </c:xVal>
          <c:yVal>
            <c:numRef>
              <c:f>Συγκριτικά!$E$14</c:f>
              <c:numCache>
                <c:formatCode>General</c:formatCode>
                <c:ptCount val="1"/>
                <c:pt idx="0">
                  <c:v>0.4467841334986838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1DBE-48CF-9CA2-B4D8BD2ADD04}"/>
            </c:ext>
          </c:extLst>
        </c:ser>
        <c:ser>
          <c:idx val="8"/>
          <c:order val="8"/>
          <c:tx>
            <c:v>Συνολική κατακρήμνιση ΣΠΜ24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xVal>
            <c:numRef>
              <c:f>Συγκριτικά!$E$19</c:f>
              <c:numCache>
                <c:formatCode>General</c:formatCode>
                <c:ptCount val="1"/>
                <c:pt idx="0">
                  <c:v>-0.41702308766140234</c:v>
                </c:pt>
              </c:numCache>
            </c:numRef>
          </c:xVal>
          <c:yVal>
            <c:numRef>
              <c:f>Συγκριτικά!$E$18</c:f>
              <c:numCache>
                <c:formatCode>General</c:formatCode>
                <c:ptCount val="1"/>
                <c:pt idx="0">
                  <c:v>8.499016778286568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1DBE-48CF-9CA2-B4D8BD2ADD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3753344"/>
        <c:axId val="163767808"/>
      </c:scatterChart>
      <c:valAx>
        <c:axId val="163753344"/>
        <c:scaling>
          <c:orientation val="minMax"/>
          <c:max val="1"/>
          <c:min val="-0.60000000000000009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ΣΥΝΤΕΛΕΣΤΗΣ ΑΠΟΔΟΣΗΣ </a:t>
                </a:r>
                <a:r>
                  <a:rPr lang="en-US"/>
                  <a:t>NASH-SUTCLIFFE </a:t>
                </a:r>
                <a:r>
                  <a:rPr lang="el-GR"/>
                  <a:t>ΜΕΤΕΩΡΟΛΟΓΙΚΗΣ ΠΡΟΒΛΕΨΗΣ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3767808"/>
        <c:crosses val="autoZero"/>
        <c:crossBetween val="midCat"/>
        <c:majorUnit val="0.2"/>
      </c:valAx>
      <c:valAx>
        <c:axId val="163767808"/>
        <c:scaling>
          <c:orientation val="minMax"/>
          <c:max val="1"/>
          <c:min val="-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l-GR"/>
                  <a:t>ΣΥΝΤΕΛΕΣΤΗΣ ΑΠΟΔΟΣΗΣ </a:t>
                </a:r>
                <a:r>
                  <a:rPr lang="en-US"/>
                  <a:t>NASH-SUTCLIFFE </a:t>
                </a:r>
                <a:r>
                  <a:rPr lang="el-GR"/>
                  <a:t>ΠΡΌΓΝΩΣΗΣ ΜΕΘΟΔΟΥ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163753344"/>
        <c:crosses val="autoZero"/>
        <c:crossBetween val="midCat"/>
        <c:majorUnit val="0.2"/>
      </c:val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1.0691066698771966E-2"/>
          <c:y val="0.81617804103600966"/>
          <c:w val="0.97620996869732723"/>
          <c:h val="0.172972049379903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0070C0"/>
      </a:solidFill>
      <a:round/>
    </a:ln>
    <a:effectLst/>
  </c:spPr>
  <c:txPr>
    <a:bodyPr/>
    <a:lstStyle/>
    <a:p>
      <a:pPr>
        <a:defRPr sz="900"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Θερμοκρασία.!$B$1</c:f>
              <c:strCache>
                <c:ptCount val="1"/>
                <c:pt idx="0">
                  <c:v>Μέτρηση ΕΜΥ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extLst>
                <c:ext xmlns:c15="http://schemas.microsoft.com/office/drawing/2012/chart" uri="{02D57815-91ED-43cb-92C2-25804820EDAC}">
                  <c15:fullRef>
                    <c15:sqref>Θερμοκρασία.!$A$2:$A$35</c15:sqref>
                  </c15:fullRef>
                </c:ext>
              </c:extLst>
              <c:f>(Θερμοκρασία.!$A$2:$A$16,Θερμοκρασία.!$A$18,Θερμοκρασία.!$A$20:$A$22,Θερμοκρασία.!$A$26,Θερμοκρασία.!$A$29,Θερμοκρασία.!$A$32:$A$35)</c:f>
              <c:numCache>
                <c:formatCode>d/m/yy\ h:mm;@</c:formatCode>
                <c:ptCount val="25"/>
                <c:pt idx="0">
                  <c:v>38336.125</c:v>
                </c:pt>
                <c:pt idx="1">
                  <c:v>38336.625</c:v>
                </c:pt>
                <c:pt idx="2">
                  <c:v>38337.125</c:v>
                </c:pt>
                <c:pt idx="3">
                  <c:v>38337.625</c:v>
                </c:pt>
                <c:pt idx="4">
                  <c:v>38338.125</c:v>
                </c:pt>
                <c:pt idx="5">
                  <c:v>38338.625</c:v>
                </c:pt>
                <c:pt idx="6">
                  <c:v>38339.125</c:v>
                </c:pt>
                <c:pt idx="7">
                  <c:v>38339.625</c:v>
                </c:pt>
                <c:pt idx="8">
                  <c:v>38340.125</c:v>
                </c:pt>
                <c:pt idx="9">
                  <c:v>38340.625</c:v>
                </c:pt>
                <c:pt idx="10">
                  <c:v>38341.125</c:v>
                </c:pt>
                <c:pt idx="11">
                  <c:v>38341.625</c:v>
                </c:pt>
                <c:pt idx="12">
                  <c:v>38342.125</c:v>
                </c:pt>
                <c:pt idx="13">
                  <c:v>38342.625</c:v>
                </c:pt>
                <c:pt idx="14">
                  <c:v>38343.125</c:v>
                </c:pt>
                <c:pt idx="15">
                  <c:v>38344.125</c:v>
                </c:pt>
                <c:pt idx="16">
                  <c:v>38345.125</c:v>
                </c:pt>
                <c:pt idx="17">
                  <c:v>38345.625</c:v>
                </c:pt>
                <c:pt idx="18">
                  <c:v>38346.125</c:v>
                </c:pt>
                <c:pt idx="19">
                  <c:v>38348.125</c:v>
                </c:pt>
                <c:pt idx="20">
                  <c:v>38349.625</c:v>
                </c:pt>
                <c:pt idx="21">
                  <c:v>38351.125</c:v>
                </c:pt>
                <c:pt idx="22">
                  <c:v>38351.625</c:v>
                </c:pt>
                <c:pt idx="23">
                  <c:v>38352.125</c:v>
                </c:pt>
                <c:pt idx="24">
                  <c:v>38352.625</c:v>
                </c:pt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Θερμοκρασία.!$B$2:$B$35</c15:sqref>
                  </c15:fullRef>
                </c:ext>
              </c:extLst>
              <c:f>(Θερμοκρασία.!$B$2:$B$16,Θερμοκρασία.!$B$18,Θερμοκρασία.!$B$20:$B$22,Θερμοκρασία.!$B$26,Θερμοκρασία.!$B$29,Θερμοκρασία.!$B$32:$B$35)</c:f>
              <c:numCache>
                <c:formatCode>General</c:formatCode>
                <c:ptCount val="25"/>
                <c:pt idx="0">
                  <c:v>-0.14158423127763206</c:v>
                </c:pt>
                <c:pt idx="1">
                  <c:v>-1.0133528460588637</c:v>
                </c:pt>
                <c:pt idx="2">
                  <c:v>-1.8046480373840541</c:v>
                </c:pt>
                <c:pt idx="3">
                  <c:v>-0.89380728224462802</c:v>
                </c:pt>
                <c:pt idx="4">
                  <c:v>-0.52963245270246395</c:v>
                </c:pt>
                <c:pt idx="5">
                  <c:v>-0.11676111745209682</c:v>
                </c:pt>
                <c:pt idx="6">
                  <c:v>0.91168951258976827</c:v>
                </c:pt>
                <c:pt idx="7">
                  <c:v>0.83960339306178766</c:v>
                </c:pt>
                <c:pt idx="8">
                  <c:v>1.6323504952358849</c:v>
                </c:pt>
                <c:pt idx="9">
                  <c:v>-0.2363066812663325</c:v>
                </c:pt>
                <c:pt idx="10">
                  <c:v>-0.25245515168472699</c:v>
                </c:pt>
                <c:pt idx="11">
                  <c:v>0.30164835589772787</c:v>
                </c:pt>
                <c:pt idx="12">
                  <c:v>0.68994767177557892</c:v>
                </c:pt>
                <c:pt idx="13">
                  <c:v>0.77983061115467012</c:v>
                </c:pt>
                <c:pt idx="14">
                  <c:v>0.13559306974010496</c:v>
                </c:pt>
                <c:pt idx="15">
                  <c:v>-0.19701969148117976</c:v>
                </c:pt>
                <c:pt idx="16">
                  <c:v>-0.36332607209182188</c:v>
                </c:pt>
                <c:pt idx="17">
                  <c:v>-0.17653389935921493</c:v>
                </c:pt>
                <c:pt idx="18">
                  <c:v>-1.361164355755675</c:v>
                </c:pt>
                <c:pt idx="19">
                  <c:v>1.7986568758465264</c:v>
                </c:pt>
                <c:pt idx="20">
                  <c:v>0.60051226543331682</c:v>
                </c:pt>
                <c:pt idx="21">
                  <c:v>-0.41876153229536905</c:v>
                </c:pt>
                <c:pt idx="22">
                  <c:v>-0.47539780889480393</c:v>
                </c:pt>
                <c:pt idx="23">
                  <c:v>0.13559306974010496</c:v>
                </c:pt>
                <c:pt idx="24">
                  <c:v>-1.07312562796598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69-4109-B539-E73B45EB222E}"/>
            </c:ext>
          </c:extLst>
        </c:ser>
        <c:ser>
          <c:idx val="1"/>
          <c:order val="1"/>
          <c:tx>
            <c:strRef>
              <c:f>Θερμοκρασία.!$C$1</c:f>
              <c:strCache>
                <c:ptCount val="1"/>
                <c:pt idx="0">
                  <c:v>ΣΜ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extLst>
                <c:ext xmlns:c15="http://schemas.microsoft.com/office/drawing/2012/chart" uri="{02D57815-91ED-43cb-92C2-25804820EDAC}">
                  <c15:fullRef>
                    <c15:sqref>Θερμοκρασία.!$A$2:$A$35</c15:sqref>
                  </c15:fullRef>
                </c:ext>
              </c:extLst>
              <c:f>(Θερμοκρασία.!$A$2:$A$16,Θερμοκρασία.!$A$18,Θερμοκρασία.!$A$20:$A$22,Θερμοκρασία.!$A$26,Θερμοκρασία.!$A$29,Θερμοκρασία.!$A$32:$A$35)</c:f>
              <c:numCache>
                <c:formatCode>d/m/yy\ h:mm;@</c:formatCode>
                <c:ptCount val="25"/>
                <c:pt idx="0">
                  <c:v>38336.125</c:v>
                </c:pt>
                <c:pt idx="1">
                  <c:v>38336.625</c:v>
                </c:pt>
                <c:pt idx="2">
                  <c:v>38337.125</c:v>
                </c:pt>
                <c:pt idx="3">
                  <c:v>38337.625</c:v>
                </c:pt>
                <c:pt idx="4">
                  <c:v>38338.125</c:v>
                </c:pt>
                <c:pt idx="5">
                  <c:v>38338.625</c:v>
                </c:pt>
                <c:pt idx="6">
                  <c:v>38339.125</c:v>
                </c:pt>
                <c:pt idx="7">
                  <c:v>38339.625</c:v>
                </c:pt>
                <c:pt idx="8">
                  <c:v>38340.125</c:v>
                </c:pt>
                <c:pt idx="9">
                  <c:v>38340.625</c:v>
                </c:pt>
                <c:pt idx="10">
                  <c:v>38341.125</c:v>
                </c:pt>
                <c:pt idx="11">
                  <c:v>38341.625</c:v>
                </c:pt>
                <c:pt idx="12">
                  <c:v>38342.125</c:v>
                </c:pt>
                <c:pt idx="13">
                  <c:v>38342.625</c:v>
                </c:pt>
                <c:pt idx="14">
                  <c:v>38343.125</c:v>
                </c:pt>
                <c:pt idx="15">
                  <c:v>38344.125</c:v>
                </c:pt>
                <c:pt idx="16">
                  <c:v>38345.125</c:v>
                </c:pt>
                <c:pt idx="17">
                  <c:v>38345.625</c:v>
                </c:pt>
                <c:pt idx="18">
                  <c:v>38346.125</c:v>
                </c:pt>
                <c:pt idx="19">
                  <c:v>38348.125</c:v>
                </c:pt>
                <c:pt idx="20">
                  <c:v>38349.625</c:v>
                </c:pt>
                <c:pt idx="21">
                  <c:v>38351.125</c:v>
                </c:pt>
                <c:pt idx="22">
                  <c:v>38351.625</c:v>
                </c:pt>
                <c:pt idx="23">
                  <c:v>38352.125</c:v>
                </c:pt>
                <c:pt idx="24">
                  <c:v>38352.625</c:v>
                </c:pt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Θερμοκρασία.!$C$2:$C$35</c15:sqref>
                  </c15:fullRef>
                </c:ext>
              </c:extLst>
              <c:f>(Θερμοκρασία.!$C$2:$C$16,Θερμοκρασία.!$C$18,Θερμοκρασία.!$C$20:$C$22,Θερμοκρασία.!$C$26,Θερμοκρασία.!$C$29,Θερμοκρασία.!$C$32:$C$35)</c:f>
              <c:numCache>
                <c:formatCode>General</c:formatCode>
                <c:ptCount val="25"/>
                <c:pt idx="0">
                  <c:v>-0.26593360861383625</c:v>
                </c:pt>
                <c:pt idx="1">
                  <c:v>-0.89971715721693835</c:v>
                </c:pt>
                <c:pt idx="2">
                  <c:v>-1.1055782928900553</c:v>
                </c:pt>
                <c:pt idx="3">
                  <c:v>-0.7168948758485425</c:v>
                </c:pt>
                <c:pt idx="4">
                  <c:v>-0.69191803667867391</c:v>
                </c:pt>
                <c:pt idx="5">
                  <c:v>-0.27406385893269769</c:v>
                </c:pt>
                <c:pt idx="6">
                  <c:v>0.91359151177104214</c:v>
                </c:pt>
                <c:pt idx="7">
                  <c:v>0.21537669377688118</c:v>
                </c:pt>
                <c:pt idx="8">
                  <c:v>1.1789509715899706</c:v>
                </c:pt>
                <c:pt idx="9">
                  <c:v>0.65717744995856409</c:v>
                </c:pt>
                <c:pt idx="10">
                  <c:v>-0.47066931212850088</c:v>
                </c:pt>
                <c:pt idx="11">
                  <c:v>0.33147350354699751</c:v>
                </c:pt>
                <c:pt idx="12">
                  <c:v>0.49970146696876105</c:v>
                </c:pt>
                <c:pt idx="13">
                  <c:v>0.4824993705874665</c:v>
                </c:pt>
                <c:pt idx="14">
                  <c:v>0.13810936095730658</c:v>
                </c:pt>
                <c:pt idx="15">
                  <c:v>-0.4110764689301033</c:v>
                </c:pt>
                <c:pt idx="16">
                  <c:v>-0.43421898973880124</c:v>
                </c:pt>
                <c:pt idx="17">
                  <c:v>-0.42691263388913303</c:v>
                </c:pt>
                <c:pt idx="18">
                  <c:v>-1.0964179644624554</c:v>
                </c:pt>
                <c:pt idx="19">
                  <c:v>1.5602037512281486</c:v>
                </c:pt>
                <c:pt idx="20">
                  <c:v>0.81833784062361703</c:v>
                </c:pt>
                <c:pt idx="21">
                  <c:v>-0.48925500849546266</c:v>
                </c:pt>
                <c:pt idx="22">
                  <c:v>-0.5525935986837196</c:v>
                </c:pt>
                <c:pt idx="23">
                  <c:v>0.33558215129650498</c:v>
                </c:pt>
                <c:pt idx="24">
                  <c:v>-0.63079261401226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69-4109-B539-E73B45EB222E}"/>
            </c:ext>
          </c:extLst>
        </c:ser>
        <c:ser>
          <c:idx val="2"/>
          <c:order val="2"/>
          <c:tx>
            <c:strRef>
              <c:f>Θερμοκρασία.!$D$1</c:f>
              <c:strCache>
                <c:ptCount val="1"/>
                <c:pt idx="0">
                  <c:v>Μετεωρολογική πρόβλεψη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extLst>
                <c:ext xmlns:c15="http://schemas.microsoft.com/office/drawing/2012/chart" uri="{02D57815-91ED-43cb-92C2-25804820EDAC}">
                  <c15:fullRef>
                    <c15:sqref>Θερμοκρασία.!$A$2:$A$35</c15:sqref>
                  </c15:fullRef>
                </c:ext>
              </c:extLst>
              <c:f>(Θερμοκρασία.!$A$2:$A$16,Θερμοκρασία.!$A$18,Θερμοκρασία.!$A$20:$A$22,Θερμοκρασία.!$A$26,Θερμοκρασία.!$A$29,Θερμοκρασία.!$A$32:$A$35)</c:f>
              <c:numCache>
                <c:formatCode>d/m/yy\ h:mm;@</c:formatCode>
                <c:ptCount val="25"/>
                <c:pt idx="0">
                  <c:v>38336.125</c:v>
                </c:pt>
                <c:pt idx="1">
                  <c:v>38336.625</c:v>
                </c:pt>
                <c:pt idx="2">
                  <c:v>38337.125</c:v>
                </c:pt>
                <c:pt idx="3">
                  <c:v>38337.625</c:v>
                </c:pt>
                <c:pt idx="4">
                  <c:v>38338.125</c:v>
                </c:pt>
                <c:pt idx="5">
                  <c:v>38338.625</c:v>
                </c:pt>
                <c:pt idx="6">
                  <c:v>38339.125</c:v>
                </c:pt>
                <c:pt idx="7">
                  <c:v>38339.625</c:v>
                </c:pt>
                <c:pt idx="8">
                  <c:v>38340.125</c:v>
                </c:pt>
                <c:pt idx="9">
                  <c:v>38340.625</c:v>
                </c:pt>
                <c:pt idx="10">
                  <c:v>38341.125</c:v>
                </c:pt>
                <c:pt idx="11">
                  <c:v>38341.625</c:v>
                </c:pt>
                <c:pt idx="12">
                  <c:v>38342.125</c:v>
                </c:pt>
                <c:pt idx="13">
                  <c:v>38342.625</c:v>
                </c:pt>
                <c:pt idx="14">
                  <c:v>38343.125</c:v>
                </c:pt>
                <c:pt idx="15">
                  <c:v>38344.125</c:v>
                </c:pt>
                <c:pt idx="16">
                  <c:v>38345.125</c:v>
                </c:pt>
                <c:pt idx="17">
                  <c:v>38345.625</c:v>
                </c:pt>
                <c:pt idx="18">
                  <c:v>38346.125</c:v>
                </c:pt>
                <c:pt idx="19">
                  <c:v>38348.125</c:v>
                </c:pt>
                <c:pt idx="20">
                  <c:v>38349.625</c:v>
                </c:pt>
                <c:pt idx="21">
                  <c:v>38351.125</c:v>
                </c:pt>
                <c:pt idx="22">
                  <c:v>38351.625</c:v>
                </c:pt>
                <c:pt idx="23">
                  <c:v>38352.125</c:v>
                </c:pt>
                <c:pt idx="24">
                  <c:v>38352.625</c:v>
                </c:pt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Θερμοκρασία.!$D$2:$D$35</c15:sqref>
                  </c15:fullRef>
                </c:ext>
              </c:extLst>
              <c:f>(Θερμοκρασία.!$D$2:$D$16,Θερμοκρασία.!$D$18,Θερμοκρασία.!$D$20:$D$22,Θερμοκρασία.!$D$26,Θερμοκρασία.!$D$29,Θερμοκρασία.!$D$32:$D$35)</c:f>
              <c:numCache>
                <c:formatCode>General</c:formatCode>
                <c:ptCount val="25"/>
                <c:pt idx="0">
                  <c:v>-0.53046137839056151</c:v>
                </c:pt>
                <c:pt idx="1">
                  <c:v>-0.88100648721550245</c:v>
                </c:pt>
                <c:pt idx="2">
                  <c:v>-0.90912633963333334</c:v>
                </c:pt>
                <c:pt idx="3">
                  <c:v>-0.67489666556945294</c:v>
                </c:pt>
                <c:pt idx="4">
                  <c:v>-0.60748842502253075</c:v>
                </c:pt>
                <c:pt idx="5">
                  <c:v>0.23532887110527476</c:v>
                </c:pt>
                <c:pt idx="6">
                  <c:v>0.74911192025979811</c:v>
                </c:pt>
                <c:pt idx="7">
                  <c:v>0.41943507665667357</c:v>
                </c:pt>
                <c:pt idx="8">
                  <c:v>0.51433348212554297</c:v>
                </c:pt>
                <c:pt idx="9">
                  <c:v>0.60716213042618106</c:v>
                </c:pt>
                <c:pt idx="10">
                  <c:v>0.49399834181469926</c:v>
                </c:pt>
                <c:pt idx="11">
                  <c:v>0.83360440745082642</c:v>
                </c:pt>
                <c:pt idx="12">
                  <c:v>0.98758765663237824</c:v>
                </c:pt>
                <c:pt idx="13">
                  <c:v>0.62303815722865108</c:v>
                </c:pt>
                <c:pt idx="14">
                  <c:v>-7.6309911448431328E-2</c:v>
                </c:pt>
                <c:pt idx="15">
                  <c:v>-0.65247222025560092</c:v>
                </c:pt>
                <c:pt idx="16">
                  <c:v>-0.67896952429700119</c:v>
                </c:pt>
                <c:pt idx="17">
                  <c:v>-0.52087135290691866</c:v>
                </c:pt>
                <c:pt idx="18">
                  <c:v>-3.040179165578558E-2</c:v>
                </c:pt>
                <c:pt idx="19">
                  <c:v>1.6287607927969214</c:v>
                </c:pt>
                <c:pt idx="20">
                  <c:v>1.0845570416441945</c:v>
                </c:pt>
                <c:pt idx="21">
                  <c:v>0.75927949041522003</c:v>
                </c:pt>
                <c:pt idx="22">
                  <c:v>0.10637096918348153</c:v>
                </c:pt>
                <c:pt idx="23">
                  <c:v>0.57010106388709292</c:v>
                </c:pt>
                <c:pt idx="24">
                  <c:v>-0.216441575799979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169-4109-B539-E73B45EB222E}"/>
            </c:ext>
          </c:extLst>
        </c:ser>
        <c:ser>
          <c:idx val="3"/>
          <c:order val="3"/>
          <c:tx>
            <c:strRef>
              <c:f>Θερμοκρασία.!$E$1</c:f>
              <c:strCache>
                <c:ptCount val="1"/>
                <c:pt idx="0">
                  <c:v>ΣΠΜ2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extLst>
                <c:ext xmlns:c15="http://schemas.microsoft.com/office/drawing/2012/chart" uri="{02D57815-91ED-43cb-92C2-25804820EDAC}">
                  <c15:fullRef>
                    <c15:sqref>Θερμοκρασία.!$A$2:$A$35</c15:sqref>
                  </c15:fullRef>
                </c:ext>
              </c:extLst>
              <c:f>(Θερμοκρασία.!$A$2:$A$16,Θερμοκρασία.!$A$18,Θερμοκρασία.!$A$20:$A$22,Θερμοκρασία.!$A$26,Θερμοκρασία.!$A$29,Θερμοκρασία.!$A$32:$A$35)</c:f>
              <c:numCache>
                <c:formatCode>d/m/yy\ h:mm;@</c:formatCode>
                <c:ptCount val="25"/>
                <c:pt idx="0">
                  <c:v>38336.125</c:v>
                </c:pt>
                <c:pt idx="1">
                  <c:v>38336.625</c:v>
                </c:pt>
                <c:pt idx="2">
                  <c:v>38337.125</c:v>
                </c:pt>
                <c:pt idx="3">
                  <c:v>38337.625</c:v>
                </c:pt>
                <c:pt idx="4">
                  <c:v>38338.125</c:v>
                </c:pt>
                <c:pt idx="5">
                  <c:v>38338.625</c:v>
                </c:pt>
                <c:pt idx="6">
                  <c:v>38339.125</c:v>
                </c:pt>
                <c:pt idx="7">
                  <c:v>38339.625</c:v>
                </c:pt>
                <c:pt idx="8">
                  <c:v>38340.125</c:v>
                </c:pt>
                <c:pt idx="9">
                  <c:v>38340.625</c:v>
                </c:pt>
                <c:pt idx="10">
                  <c:v>38341.125</c:v>
                </c:pt>
                <c:pt idx="11">
                  <c:v>38341.625</c:v>
                </c:pt>
                <c:pt idx="12">
                  <c:v>38342.125</c:v>
                </c:pt>
                <c:pt idx="13">
                  <c:v>38342.625</c:v>
                </c:pt>
                <c:pt idx="14">
                  <c:v>38343.125</c:v>
                </c:pt>
                <c:pt idx="15">
                  <c:v>38344.125</c:v>
                </c:pt>
                <c:pt idx="16">
                  <c:v>38345.125</c:v>
                </c:pt>
                <c:pt idx="17">
                  <c:v>38345.625</c:v>
                </c:pt>
                <c:pt idx="18">
                  <c:v>38346.125</c:v>
                </c:pt>
                <c:pt idx="19">
                  <c:v>38348.125</c:v>
                </c:pt>
                <c:pt idx="20">
                  <c:v>38349.625</c:v>
                </c:pt>
                <c:pt idx="21">
                  <c:v>38351.125</c:v>
                </c:pt>
                <c:pt idx="22">
                  <c:v>38351.625</c:v>
                </c:pt>
                <c:pt idx="23">
                  <c:v>38352.125</c:v>
                </c:pt>
                <c:pt idx="24">
                  <c:v>38352.625</c:v>
                </c:pt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Θερμοκρασία.!$E$2:$E$35</c15:sqref>
                  </c15:fullRef>
                </c:ext>
              </c:extLst>
              <c:f>(Θερμοκρασία.!$E$2:$E$16,Θερμοκρασία.!$E$18,Θερμοκρασία.!$E$20:$E$22,Θερμοκρασία.!$E$26,Θερμοκρασία.!$E$29,Θερμοκρασία.!$E$32:$E$35)</c:f>
              <c:numCache>
                <c:formatCode>General</c:formatCode>
                <c:ptCount val="25"/>
                <c:pt idx="0">
                  <c:v>-0.32435341572474463</c:v>
                </c:pt>
                <c:pt idx="1">
                  <c:v>-0.96824607241697291</c:v>
                </c:pt>
                <c:pt idx="2">
                  <c:v>-1.1862450932360991</c:v>
                </c:pt>
                <c:pt idx="3">
                  <c:v>-0.648087855260985</c:v>
                </c:pt>
                <c:pt idx="4">
                  <c:v>-0.66242632988861361</c:v>
                </c:pt>
                <c:pt idx="5">
                  <c:v>-0.14163661001503605</c:v>
                </c:pt>
                <c:pt idx="6">
                  <c:v>1.0085931590664445</c:v>
                </c:pt>
                <c:pt idx="7">
                  <c:v>0.18593287819682203</c:v>
                </c:pt>
                <c:pt idx="8">
                  <c:v>1.1188004333445503</c:v>
                </c:pt>
                <c:pt idx="9">
                  <c:v>0.62892274467791653</c:v>
                </c:pt>
                <c:pt idx="10">
                  <c:v>-0.44393337844131847</c:v>
                </c:pt>
                <c:pt idx="11">
                  <c:v>0.46537676151994911</c:v>
                </c:pt>
                <c:pt idx="12">
                  <c:v>0.58675178298380715</c:v>
                </c:pt>
                <c:pt idx="13">
                  <c:v>0.5817700475746751</c:v>
                </c:pt>
                <c:pt idx="14">
                  <c:v>6.1448742108611502E-2</c:v>
                </c:pt>
                <c:pt idx="15">
                  <c:v>-0.47961839355136321</c:v>
                </c:pt>
                <c:pt idx="16">
                  <c:v>-0.50534662830499133</c:v>
                </c:pt>
                <c:pt idx="17">
                  <c:v>-0.45246013033633015</c:v>
                </c:pt>
                <c:pt idx="18">
                  <c:v>-0.94292575743926965</c:v>
                </c:pt>
                <c:pt idx="19">
                  <c:v>1.6542146142653418</c:v>
                </c:pt>
                <c:pt idx="20">
                  <c:v>0.82228821390790663</c:v>
                </c:pt>
                <c:pt idx="21">
                  <c:v>-0.41935264405609102</c:v>
                </c:pt>
                <c:pt idx="22">
                  <c:v>-0.43056928002302958</c:v>
                </c:pt>
                <c:pt idx="23">
                  <c:v>0.37535091454988012</c:v>
                </c:pt>
                <c:pt idx="24">
                  <c:v>-0.665662259339056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169-4109-B539-E73B45EB22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0683664"/>
        <c:axId val="546848416"/>
      </c:barChart>
      <c:catAx>
        <c:axId val="750683664"/>
        <c:scaling>
          <c:orientation val="minMax"/>
        </c:scaling>
        <c:delete val="0"/>
        <c:axPos val="b"/>
        <c:numFmt formatCode="d/m/yy\ h:m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546848416"/>
        <c:crosses val="autoZero"/>
        <c:auto val="0"/>
        <c:lblAlgn val="ctr"/>
        <c:lblOffset val="100"/>
        <c:noMultiLvlLbl val="0"/>
      </c:catAx>
      <c:valAx>
        <c:axId val="546848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750683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rgbClr val="FF0000"/>
      </a:solidFill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Θερμοκρασία.!$B$1</c:f>
              <c:strCache>
                <c:ptCount val="1"/>
                <c:pt idx="0">
                  <c:v>Μέτρηση ΕΜΥ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extLst>
                <c:ext xmlns:c15="http://schemas.microsoft.com/office/drawing/2012/chart" uri="{02D57815-91ED-43cb-92C2-25804820EDAC}">
                  <c15:fullRef>
                    <c15:sqref>Θερμοκρασία.!$A$110:$A$143</c15:sqref>
                  </c15:fullRef>
                </c:ext>
              </c:extLst>
              <c:f>(Θερμοκρασία.!$A$111:$A$118,Θερμοκρασία.!$A$121:$A$123,Θερμοκρασία.!$A$125:$A$126,Θερμοκρασία.!$A$128:$A$131,Θερμοκρασία.!$A$133:$A$138)</c:f>
              <c:numCache>
                <c:formatCode>d/m/yy\ h:mm;@</c:formatCode>
                <c:ptCount val="23"/>
                <c:pt idx="0">
                  <c:v>38336.5</c:v>
                </c:pt>
                <c:pt idx="1">
                  <c:v>38337</c:v>
                </c:pt>
                <c:pt idx="2">
                  <c:v>38337.5</c:v>
                </c:pt>
                <c:pt idx="3">
                  <c:v>38338</c:v>
                </c:pt>
                <c:pt idx="4">
                  <c:v>38338.5</c:v>
                </c:pt>
                <c:pt idx="5">
                  <c:v>38339</c:v>
                </c:pt>
                <c:pt idx="6">
                  <c:v>38339.5</c:v>
                </c:pt>
                <c:pt idx="7">
                  <c:v>38340</c:v>
                </c:pt>
                <c:pt idx="8">
                  <c:v>38341.5</c:v>
                </c:pt>
                <c:pt idx="9">
                  <c:v>38342</c:v>
                </c:pt>
                <c:pt idx="10">
                  <c:v>38342.5</c:v>
                </c:pt>
                <c:pt idx="11">
                  <c:v>38343.5</c:v>
                </c:pt>
                <c:pt idx="12">
                  <c:v>38344</c:v>
                </c:pt>
                <c:pt idx="13">
                  <c:v>38345</c:v>
                </c:pt>
                <c:pt idx="14">
                  <c:v>38345.5</c:v>
                </c:pt>
                <c:pt idx="15">
                  <c:v>38346</c:v>
                </c:pt>
                <c:pt idx="16">
                  <c:v>38346.5</c:v>
                </c:pt>
                <c:pt idx="17">
                  <c:v>38347.5</c:v>
                </c:pt>
                <c:pt idx="18">
                  <c:v>38348</c:v>
                </c:pt>
                <c:pt idx="19">
                  <c:v>38348.5</c:v>
                </c:pt>
                <c:pt idx="20">
                  <c:v>38349</c:v>
                </c:pt>
                <c:pt idx="21">
                  <c:v>38349.5</c:v>
                </c:pt>
                <c:pt idx="22">
                  <c:v>38350</c:v>
                </c:pt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Θερμοκρασία.!$B$110:$B$143</c15:sqref>
                  </c15:fullRef>
                </c:ext>
              </c:extLst>
              <c:f>(Θερμοκρασία.!$B$111:$B$118,Θερμοκρασία.!$B$121:$B$123,Θερμοκρασία.!$B$125:$B$126,Θερμοκρασία.!$B$128:$B$131,Θερμοκρασία.!$B$133:$B$138)</c:f>
              <c:numCache>
                <c:formatCode>General</c:formatCode>
                <c:ptCount val="23"/>
                <c:pt idx="0">
                  <c:v>-1.0586386916865533</c:v>
                </c:pt>
                <c:pt idx="1">
                  <c:v>-1.2872949929332629</c:v>
                </c:pt>
                <c:pt idx="2">
                  <c:v>-0.65769578563730657</c:v>
                </c:pt>
                <c:pt idx="3">
                  <c:v>-0.66602852452122674</c:v>
                </c:pt>
                <c:pt idx="4">
                  <c:v>-0.19947532158102493</c:v>
                </c:pt>
                <c:pt idx="5">
                  <c:v>1.1412921108592418</c:v>
                </c:pt>
                <c:pt idx="6">
                  <c:v>0.14419002646118667</c:v>
                </c:pt>
                <c:pt idx="7">
                  <c:v>1.3107284204261604</c:v>
                </c:pt>
                <c:pt idx="8">
                  <c:v>0.43057781649636279</c:v>
                </c:pt>
                <c:pt idx="9">
                  <c:v>0.57650441230284533</c:v>
                </c:pt>
                <c:pt idx="10">
                  <c:v>0.60241049051746831</c:v>
                </c:pt>
                <c:pt idx="11">
                  <c:v>-0.65769578563730657</c:v>
                </c:pt>
                <c:pt idx="12">
                  <c:v>-0.496592214954308</c:v>
                </c:pt>
                <c:pt idx="13">
                  <c:v>-0.496592214954308</c:v>
                </c:pt>
                <c:pt idx="14">
                  <c:v>-0.4285855536091655</c:v>
                </c:pt>
                <c:pt idx="15">
                  <c:v>-1.1743374532219835</c:v>
                </c:pt>
                <c:pt idx="16">
                  <c:v>-0.14219776357398942</c:v>
                </c:pt>
                <c:pt idx="17">
                  <c:v>0.3160227004822922</c:v>
                </c:pt>
                <c:pt idx="18">
                  <c:v>1.7625585792712779</c:v>
                </c:pt>
                <c:pt idx="19">
                  <c:v>1.1179085125807855</c:v>
                </c:pt>
                <c:pt idx="20">
                  <c:v>1.1412921108592418</c:v>
                </c:pt>
                <c:pt idx="21">
                  <c:v>0.77424316453857434</c:v>
                </c:pt>
                <c:pt idx="22">
                  <c:v>1.4236859601374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C1-4D45-9FB1-6FE8C96EB7EF}"/>
            </c:ext>
          </c:extLst>
        </c:ser>
        <c:ser>
          <c:idx val="1"/>
          <c:order val="1"/>
          <c:tx>
            <c:strRef>
              <c:f>Θερμοκρασία.!$C$1</c:f>
              <c:strCache>
                <c:ptCount val="1"/>
                <c:pt idx="0">
                  <c:v>ΣΜ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extLst>
                <c:ext xmlns:c15="http://schemas.microsoft.com/office/drawing/2012/chart" uri="{02D57815-91ED-43cb-92C2-25804820EDAC}">
                  <c15:fullRef>
                    <c15:sqref>Θερμοκρασία.!$A$110:$A$143</c15:sqref>
                  </c15:fullRef>
                </c:ext>
              </c:extLst>
              <c:f>(Θερμοκρασία.!$A$111:$A$118,Θερμοκρασία.!$A$121:$A$123,Θερμοκρασία.!$A$125:$A$126,Θερμοκρασία.!$A$128:$A$131,Θερμοκρασία.!$A$133:$A$138)</c:f>
              <c:numCache>
                <c:formatCode>d/m/yy\ h:mm;@</c:formatCode>
                <c:ptCount val="23"/>
                <c:pt idx="0">
                  <c:v>38336.5</c:v>
                </c:pt>
                <c:pt idx="1">
                  <c:v>38337</c:v>
                </c:pt>
                <c:pt idx="2">
                  <c:v>38337.5</c:v>
                </c:pt>
                <c:pt idx="3">
                  <c:v>38338</c:v>
                </c:pt>
                <c:pt idx="4">
                  <c:v>38338.5</c:v>
                </c:pt>
                <c:pt idx="5">
                  <c:v>38339</c:v>
                </c:pt>
                <c:pt idx="6">
                  <c:v>38339.5</c:v>
                </c:pt>
                <c:pt idx="7">
                  <c:v>38340</c:v>
                </c:pt>
                <c:pt idx="8">
                  <c:v>38341.5</c:v>
                </c:pt>
                <c:pt idx="9">
                  <c:v>38342</c:v>
                </c:pt>
                <c:pt idx="10">
                  <c:v>38342.5</c:v>
                </c:pt>
                <c:pt idx="11">
                  <c:v>38343.5</c:v>
                </c:pt>
                <c:pt idx="12">
                  <c:v>38344</c:v>
                </c:pt>
                <c:pt idx="13">
                  <c:v>38345</c:v>
                </c:pt>
                <c:pt idx="14">
                  <c:v>38345.5</c:v>
                </c:pt>
                <c:pt idx="15">
                  <c:v>38346</c:v>
                </c:pt>
                <c:pt idx="16">
                  <c:v>38346.5</c:v>
                </c:pt>
                <c:pt idx="17">
                  <c:v>38347.5</c:v>
                </c:pt>
                <c:pt idx="18">
                  <c:v>38348</c:v>
                </c:pt>
                <c:pt idx="19">
                  <c:v>38348.5</c:v>
                </c:pt>
                <c:pt idx="20">
                  <c:v>38349</c:v>
                </c:pt>
                <c:pt idx="21">
                  <c:v>38349.5</c:v>
                </c:pt>
                <c:pt idx="22">
                  <c:v>38350</c:v>
                </c:pt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Θερμοκρασία.!$C$110:$C$143</c15:sqref>
                  </c15:fullRef>
                </c:ext>
              </c:extLst>
              <c:f>(Θερμοκρασία.!$C$111:$C$118,Θερμοκρασία.!$C$121:$C$123,Θερμοκρασία.!$C$125:$C$126,Θερμοκρασία.!$C$128:$C$131,Θερμοκρασία.!$C$133:$C$138)</c:f>
              <c:numCache>
                <c:formatCode>General</c:formatCode>
                <c:ptCount val="23"/>
                <c:pt idx="0">
                  <c:v>-0.35744833192297581</c:v>
                </c:pt>
                <c:pt idx="1">
                  <c:v>-0.53666702442013059</c:v>
                </c:pt>
                <c:pt idx="2">
                  <c:v>-0.97045255068200476</c:v>
                </c:pt>
                <c:pt idx="3">
                  <c:v>-0.87048241277579042</c:v>
                </c:pt>
                <c:pt idx="4">
                  <c:v>-0.59067950579787365</c:v>
                </c:pt>
                <c:pt idx="5">
                  <c:v>-0.28429578286426005</c:v>
                </c:pt>
                <c:pt idx="6">
                  <c:v>0.455750922843143</c:v>
                </c:pt>
                <c:pt idx="7">
                  <c:v>0.49688482065087991</c:v>
                </c:pt>
                <c:pt idx="8">
                  <c:v>-0.1966744681695316</c:v>
                </c:pt>
                <c:pt idx="9">
                  <c:v>1.2231335430750279E-2</c:v>
                </c:pt>
                <c:pt idx="10">
                  <c:v>0.35326445132225204</c:v>
                </c:pt>
                <c:pt idx="11">
                  <c:v>0.27004549955144008</c:v>
                </c:pt>
                <c:pt idx="12">
                  <c:v>-0.23801206171072936</c:v>
                </c:pt>
                <c:pt idx="13">
                  <c:v>-0.26301254859906764</c:v>
                </c:pt>
                <c:pt idx="14">
                  <c:v>-0.4098258884177941</c:v>
                </c:pt>
                <c:pt idx="15">
                  <c:v>-0.41807807891615545</c:v>
                </c:pt>
                <c:pt idx="16">
                  <c:v>-0.69193887649541708</c:v>
                </c:pt>
                <c:pt idx="17">
                  <c:v>4.982548110862374E-2</c:v>
                </c:pt>
                <c:pt idx="18">
                  <c:v>0.42846825963845814</c:v>
                </c:pt>
                <c:pt idx="19">
                  <c:v>1.003826454765512</c:v>
                </c:pt>
                <c:pt idx="20">
                  <c:v>1.1957219503711016</c:v>
                </c:pt>
                <c:pt idx="21">
                  <c:v>0.96782671209293869</c:v>
                </c:pt>
                <c:pt idx="22">
                  <c:v>0.864015051561048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C1-4D45-9FB1-6FE8C96EB7EF}"/>
            </c:ext>
          </c:extLst>
        </c:ser>
        <c:ser>
          <c:idx val="2"/>
          <c:order val="2"/>
          <c:tx>
            <c:strRef>
              <c:f>Θερμοκρασία.!$D$1</c:f>
              <c:strCache>
                <c:ptCount val="1"/>
                <c:pt idx="0">
                  <c:v>Μετεωρολογική πρόβλεψη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extLst>
                <c:ext xmlns:c15="http://schemas.microsoft.com/office/drawing/2012/chart" uri="{02D57815-91ED-43cb-92C2-25804820EDAC}">
                  <c15:fullRef>
                    <c15:sqref>Θερμοκρασία.!$A$110:$A$143</c15:sqref>
                  </c15:fullRef>
                </c:ext>
              </c:extLst>
              <c:f>(Θερμοκρασία.!$A$111:$A$118,Θερμοκρασία.!$A$121:$A$123,Θερμοκρασία.!$A$125:$A$126,Θερμοκρασία.!$A$128:$A$131,Θερμοκρασία.!$A$133:$A$138)</c:f>
              <c:numCache>
                <c:formatCode>d/m/yy\ h:mm;@</c:formatCode>
                <c:ptCount val="23"/>
                <c:pt idx="0">
                  <c:v>38336.5</c:v>
                </c:pt>
                <c:pt idx="1">
                  <c:v>38337</c:v>
                </c:pt>
                <c:pt idx="2">
                  <c:v>38337.5</c:v>
                </c:pt>
                <c:pt idx="3">
                  <c:v>38338</c:v>
                </c:pt>
                <c:pt idx="4">
                  <c:v>38338.5</c:v>
                </c:pt>
                <c:pt idx="5">
                  <c:v>38339</c:v>
                </c:pt>
                <c:pt idx="6">
                  <c:v>38339.5</c:v>
                </c:pt>
                <c:pt idx="7">
                  <c:v>38340</c:v>
                </c:pt>
                <c:pt idx="8">
                  <c:v>38341.5</c:v>
                </c:pt>
                <c:pt idx="9">
                  <c:v>38342</c:v>
                </c:pt>
                <c:pt idx="10">
                  <c:v>38342.5</c:v>
                </c:pt>
                <c:pt idx="11">
                  <c:v>38343.5</c:v>
                </c:pt>
                <c:pt idx="12">
                  <c:v>38344</c:v>
                </c:pt>
                <c:pt idx="13">
                  <c:v>38345</c:v>
                </c:pt>
                <c:pt idx="14">
                  <c:v>38345.5</c:v>
                </c:pt>
                <c:pt idx="15">
                  <c:v>38346</c:v>
                </c:pt>
                <c:pt idx="16">
                  <c:v>38346.5</c:v>
                </c:pt>
                <c:pt idx="17">
                  <c:v>38347.5</c:v>
                </c:pt>
                <c:pt idx="18">
                  <c:v>38348</c:v>
                </c:pt>
                <c:pt idx="19">
                  <c:v>38348.5</c:v>
                </c:pt>
                <c:pt idx="20">
                  <c:v>38349</c:v>
                </c:pt>
                <c:pt idx="21">
                  <c:v>38349.5</c:v>
                </c:pt>
                <c:pt idx="22">
                  <c:v>38350</c:v>
                </c:pt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Θερμοκρασία.!$D$110:$D$143</c15:sqref>
                  </c15:fullRef>
                </c:ext>
              </c:extLst>
              <c:f>(Θερμοκρασία.!$D$111:$D$118,Θερμοκρασία.!$D$121:$D$123,Θερμοκρασία.!$D$125:$D$126,Θερμοκρασία.!$D$128:$D$131,Θερμοκρασία.!$D$133:$D$138)</c:f>
              <c:numCache>
                <c:formatCode>General</c:formatCode>
                <c:ptCount val="23"/>
                <c:pt idx="0">
                  <c:v>-0.98648499059918326</c:v>
                </c:pt>
                <c:pt idx="1">
                  <c:v>-1.0346215011280728</c:v>
                </c:pt>
                <c:pt idx="2">
                  <c:v>-0.70674419542303113</c:v>
                </c:pt>
                <c:pt idx="3">
                  <c:v>-0.56587120444010885</c:v>
                </c:pt>
                <c:pt idx="4">
                  <c:v>8.7945744341120773E-3</c:v>
                </c:pt>
                <c:pt idx="5">
                  <c:v>0.8101973406333709</c:v>
                </c:pt>
                <c:pt idx="6">
                  <c:v>0.59677596884494588</c:v>
                </c:pt>
                <c:pt idx="7">
                  <c:v>0.42614239978588492</c:v>
                </c:pt>
                <c:pt idx="8">
                  <c:v>0.50518921988024346</c:v>
                </c:pt>
                <c:pt idx="9">
                  <c:v>0.81943683399779488</c:v>
                </c:pt>
                <c:pt idx="10">
                  <c:v>0.64270769189068322</c:v>
                </c:pt>
                <c:pt idx="11">
                  <c:v>-0.73884106212968259</c:v>
                </c:pt>
                <c:pt idx="12">
                  <c:v>-0.77252787269083012</c:v>
                </c:pt>
                <c:pt idx="13">
                  <c:v>-1.0189143624085701</c:v>
                </c:pt>
                <c:pt idx="14">
                  <c:v>-0.81244249785359168</c:v>
                </c:pt>
                <c:pt idx="15">
                  <c:v>-0.26127590652656985</c:v>
                </c:pt>
                <c:pt idx="16">
                  <c:v>0.1933515579974194</c:v>
                </c:pt>
                <c:pt idx="17">
                  <c:v>0.94513765146294193</c:v>
                </c:pt>
                <c:pt idx="18">
                  <c:v>1.5564404213659209</c:v>
                </c:pt>
                <c:pt idx="19">
                  <c:v>1.4359983543734429</c:v>
                </c:pt>
                <c:pt idx="20">
                  <c:v>1.4283194467127134</c:v>
                </c:pt>
                <c:pt idx="21">
                  <c:v>1.435444960119878</c:v>
                </c:pt>
                <c:pt idx="22">
                  <c:v>1.3457799726572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C1-4D45-9FB1-6FE8C96EB7EF}"/>
            </c:ext>
          </c:extLst>
        </c:ser>
        <c:ser>
          <c:idx val="3"/>
          <c:order val="3"/>
          <c:tx>
            <c:strRef>
              <c:f>Θερμοκρασία.!$E$1</c:f>
              <c:strCache>
                <c:ptCount val="1"/>
                <c:pt idx="0">
                  <c:v>ΣΠΜ2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extLst>
                <c:ext xmlns:c15="http://schemas.microsoft.com/office/drawing/2012/chart" uri="{02D57815-91ED-43cb-92C2-25804820EDAC}">
                  <c15:fullRef>
                    <c15:sqref>Θερμοκρασία.!$A$110:$A$143</c15:sqref>
                  </c15:fullRef>
                </c:ext>
              </c:extLst>
              <c:f>(Θερμοκρασία.!$A$111:$A$118,Θερμοκρασία.!$A$121:$A$123,Θερμοκρασία.!$A$125:$A$126,Θερμοκρασία.!$A$128:$A$131,Θερμοκρασία.!$A$133:$A$138)</c:f>
              <c:numCache>
                <c:formatCode>d/m/yy\ h:mm;@</c:formatCode>
                <c:ptCount val="23"/>
                <c:pt idx="0">
                  <c:v>38336.5</c:v>
                </c:pt>
                <c:pt idx="1">
                  <c:v>38337</c:v>
                </c:pt>
                <c:pt idx="2">
                  <c:v>38337.5</c:v>
                </c:pt>
                <c:pt idx="3">
                  <c:v>38338</c:v>
                </c:pt>
                <c:pt idx="4">
                  <c:v>38338.5</c:v>
                </c:pt>
                <c:pt idx="5">
                  <c:v>38339</c:v>
                </c:pt>
                <c:pt idx="6">
                  <c:v>38339.5</c:v>
                </c:pt>
                <c:pt idx="7">
                  <c:v>38340</c:v>
                </c:pt>
                <c:pt idx="8">
                  <c:v>38341.5</c:v>
                </c:pt>
                <c:pt idx="9">
                  <c:v>38342</c:v>
                </c:pt>
                <c:pt idx="10">
                  <c:v>38342.5</c:v>
                </c:pt>
                <c:pt idx="11">
                  <c:v>38343.5</c:v>
                </c:pt>
                <c:pt idx="12">
                  <c:v>38344</c:v>
                </c:pt>
                <c:pt idx="13">
                  <c:v>38345</c:v>
                </c:pt>
                <c:pt idx="14">
                  <c:v>38345.5</c:v>
                </c:pt>
                <c:pt idx="15">
                  <c:v>38346</c:v>
                </c:pt>
                <c:pt idx="16">
                  <c:v>38346.5</c:v>
                </c:pt>
                <c:pt idx="17">
                  <c:v>38347.5</c:v>
                </c:pt>
                <c:pt idx="18">
                  <c:v>38348</c:v>
                </c:pt>
                <c:pt idx="19">
                  <c:v>38348.5</c:v>
                </c:pt>
                <c:pt idx="20">
                  <c:v>38349</c:v>
                </c:pt>
                <c:pt idx="21">
                  <c:v>38349.5</c:v>
                </c:pt>
                <c:pt idx="22">
                  <c:v>38350</c:v>
                </c:pt>
              </c:numCache>
            </c:num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Θερμοκρασία.!$E$110:$E$143</c15:sqref>
                  </c15:fullRef>
                </c:ext>
              </c:extLst>
              <c:f>(Θερμοκρασία.!$E$111:$E$118,Θερμοκρασία.!$E$121:$E$123,Θερμοκρασία.!$E$125:$E$126,Θερμοκρασία.!$E$128:$E$131,Θερμοκρασία.!$E$133:$E$138)</c:f>
              <c:numCache>
                <c:formatCode>General</c:formatCode>
                <c:ptCount val="23"/>
                <c:pt idx="0">
                  <c:v>-0.75511601773007531</c:v>
                </c:pt>
                <c:pt idx="1">
                  <c:v>-0.74312369814558554</c:v>
                </c:pt>
                <c:pt idx="2">
                  <c:v>-0.80167092120622452</c:v>
                </c:pt>
                <c:pt idx="3">
                  <c:v>-0.83299845058089494</c:v>
                </c:pt>
                <c:pt idx="4">
                  <c:v>-0.27202378134328953</c:v>
                </c:pt>
                <c:pt idx="5">
                  <c:v>0.35282350976875426</c:v>
                </c:pt>
                <c:pt idx="6">
                  <c:v>0.42582543644229354</c:v>
                </c:pt>
                <c:pt idx="7">
                  <c:v>0.55796047813290039</c:v>
                </c:pt>
                <c:pt idx="8">
                  <c:v>0.26646218203081351</c:v>
                </c:pt>
                <c:pt idx="9">
                  <c:v>0.44243882971393272</c:v>
                </c:pt>
                <c:pt idx="10">
                  <c:v>0.48266746479763134</c:v>
                </c:pt>
                <c:pt idx="11">
                  <c:v>-0.2637037521694211</c:v>
                </c:pt>
                <c:pt idx="12">
                  <c:v>-0.47390811997472626</c:v>
                </c:pt>
                <c:pt idx="13">
                  <c:v>-0.69575275874074971</c:v>
                </c:pt>
                <c:pt idx="14">
                  <c:v>-0.68981015581108596</c:v>
                </c:pt>
                <c:pt idx="15">
                  <c:v>-0.35220495457557788</c:v>
                </c:pt>
                <c:pt idx="16">
                  <c:v>-9.1365720383048479E-2</c:v>
                </c:pt>
                <c:pt idx="17">
                  <c:v>0.5378051302722977</c:v>
                </c:pt>
                <c:pt idx="18">
                  <c:v>1.2282283249680368</c:v>
                </c:pt>
                <c:pt idx="19">
                  <c:v>1.2019884797728968</c:v>
                </c:pt>
                <c:pt idx="20">
                  <c:v>1.4383659023133126</c:v>
                </c:pt>
                <c:pt idx="21">
                  <c:v>1.285537601512416</c:v>
                </c:pt>
                <c:pt idx="22">
                  <c:v>1.26345483029884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3C1-4D45-9FB1-6FE8C96EB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0683664"/>
        <c:axId val="546848416"/>
      </c:barChart>
      <c:catAx>
        <c:axId val="750683664"/>
        <c:scaling>
          <c:orientation val="minMax"/>
        </c:scaling>
        <c:delete val="0"/>
        <c:axPos val="b"/>
        <c:numFmt formatCode="d/m/yy\ h:m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546848416"/>
        <c:crosses val="autoZero"/>
        <c:auto val="0"/>
        <c:lblAlgn val="ctr"/>
        <c:lblOffset val="100"/>
        <c:noMultiLvlLbl val="0"/>
      </c:catAx>
      <c:valAx>
        <c:axId val="546848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750683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rgbClr val="0000FF"/>
      </a:solidFill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Άνεμος.!$B$1</c:f>
              <c:strCache>
                <c:ptCount val="1"/>
                <c:pt idx="0">
                  <c:v>Μέτρηση ΕΜΥ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Άνεμος.!$A$14:$A$33</c:f>
              <c:numCache>
                <c:formatCode>d/m/yy\ h:mm;@</c:formatCode>
                <c:ptCount val="20"/>
                <c:pt idx="0">
                  <c:v>38342.125</c:v>
                </c:pt>
                <c:pt idx="1">
                  <c:v>38342.625</c:v>
                </c:pt>
                <c:pt idx="2">
                  <c:v>38343.125</c:v>
                </c:pt>
                <c:pt idx="3">
                  <c:v>38343.625</c:v>
                </c:pt>
                <c:pt idx="4">
                  <c:v>38344.125</c:v>
                </c:pt>
                <c:pt idx="5">
                  <c:v>38344.625</c:v>
                </c:pt>
                <c:pt idx="6">
                  <c:v>38345.125</c:v>
                </c:pt>
                <c:pt idx="7">
                  <c:v>38345.625</c:v>
                </c:pt>
                <c:pt idx="8">
                  <c:v>38346.125</c:v>
                </c:pt>
                <c:pt idx="9">
                  <c:v>38346.625</c:v>
                </c:pt>
                <c:pt idx="10">
                  <c:v>38347.125</c:v>
                </c:pt>
                <c:pt idx="11">
                  <c:v>38347.625</c:v>
                </c:pt>
                <c:pt idx="12">
                  <c:v>38348.125</c:v>
                </c:pt>
                <c:pt idx="13">
                  <c:v>38348.625</c:v>
                </c:pt>
                <c:pt idx="14">
                  <c:v>38349.125</c:v>
                </c:pt>
                <c:pt idx="15">
                  <c:v>38349.625</c:v>
                </c:pt>
                <c:pt idx="16">
                  <c:v>38350.125</c:v>
                </c:pt>
                <c:pt idx="17">
                  <c:v>38350.625</c:v>
                </c:pt>
                <c:pt idx="18">
                  <c:v>38351.125</c:v>
                </c:pt>
                <c:pt idx="19">
                  <c:v>38351.625</c:v>
                </c:pt>
              </c:numCache>
            </c:numRef>
          </c:cat>
          <c:val>
            <c:numRef>
              <c:f>Άνεμος.!$B$14:$B$33</c:f>
              <c:numCache>
                <c:formatCode>General</c:formatCode>
                <c:ptCount val="20"/>
                <c:pt idx="0">
                  <c:v>-0.99550246488964578</c:v>
                </c:pt>
                <c:pt idx="1">
                  <c:v>-1.3617400406182418</c:v>
                </c:pt>
                <c:pt idx="2">
                  <c:v>0.18351434327511143</c:v>
                </c:pt>
                <c:pt idx="3">
                  <c:v>-0.4917394591121429</c:v>
                </c:pt>
                <c:pt idx="4">
                  <c:v>-0.99550246488964578</c:v>
                </c:pt>
                <c:pt idx="5">
                  <c:v>-1.3617400406182418</c:v>
                </c:pt>
                <c:pt idx="6">
                  <c:v>-0.32177857450978453</c:v>
                </c:pt>
                <c:pt idx="7">
                  <c:v>-0.31773934281092309</c:v>
                </c:pt>
                <c:pt idx="8">
                  <c:v>-0.99550246488964578</c:v>
                </c:pt>
                <c:pt idx="9">
                  <c:v>-1.3617400406182418</c:v>
                </c:pt>
                <c:pt idx="10">
                  <c:v>1.5083370680146117E-2</c:v>
                </c:pt>
                <c:pt idx="11">
                  <c:v>-0.31773934281092309</c:v>
                </c:pt>
                <c:pt idx="12">
                  <c:v>0.52037628846504203</c:v>
                </c:pt>
                <c:pt idx="13">
                  <c:v>-0.31773934281092309</c:v>
                </c:pt>
                <c:pt idx="14">
                  <c:v>-0.15334760191481919</c:v>
                </c:pt>
                <c:pt idx="15">
                  <c:v>-0.66573957541336271</c:v>
                </c:pt>
                <c:pt idx="16">
                  <c:v>0.35194531587007677</c:v>
                </c:pt>
                <c:pt idx="17">
                  <c:v>-1.3617400406182418</c:v>
                </c:pt>
                <c:pt idx="18">
                  <c:v>-0.99550246488964578</c:v>
                </c:pt>
                <c:pt idx="19">
                  <c:v>0.204261006092736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C2-4E8A-AAA4-B165904AC9CF}"/>
            </c:ext>
          </c:extLst>
        </c:ser>
        <c:ser>
          <c:idx val="1"/>
          <c:order val="1"/>
          <c:tx>
            <c:strRef>
              <c:f>Άνεμος.!$C$1</c:f>
              <c:strCache>
                <c:ptCount val="1"/>
                <c:pt idx="0">
                  <c:v>ΣΜ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Άνεμος.!$A$14:$A$33</c:f>
              <c:numCache>
                <c:formatCode>d/m/yy\ h:mm;@</c:formatCode>
                <c:ptCount val="20"/>
                <c:pt idx="0">
                  <c:v>38342.125</c:v>
                </c:pt>
                <c:pt idx="1">
                  <c:v>38342.625</c:v>
                </c:pt>
                <c:pt idx="2">
                  <c:v>38343.125</c:v>
                </c:pt>
                <c:pt idx="3">
                  <c:v>38343.625</c:v>
                </c:pt>
                <c:pt idx="4">
                  <c:v>38344.125</c:v>
                </c:pt>
                <c:pt idx="5">
                  <c:v>38344.625</c:v>
                </c:pt>
                <c:pt idx="6">
                  <c:v>38345.125</c:v>
                </c:pt>
                <c:pt idx="7">
                  <c:v>38345.625</c:v>
                </c:pt>
                <c:pt idx="8">
                  <c:v>38346.125</c:v>
                </c:pt>
                <c:pt idx="9">
                  <c:v>38346.625</c:v>
                </c:pt>
                <c:pt idx="10">
                  <c:v>38347.125</c:v>
                </c:pt>
                <c:pt idx="11">
                  <c:v>38347.625</c:v>
                </c:pt>
                <c:pt idx="12">
                  <c:v>38348.125</c:v>
                </c:pt>
                <c:pt idx="13">
                  <c:v>38348.625</c:v>
                </c:pt>
                <c:pt idx="14">
                  <c:v>38349.125</c:v>
                </c:pt>
                <c:pt idx="15">
                  <c:v>38349.625</c:v>
                </c:pt>
                <c:pt idx="16">
                  <c:v>38350.125</c:v>
                </c:pt>
                <c:pt idx="17">
                  <c:v>38350.625</c:v>
                </c:pt>
                <c:pt idx="18">
                  <c:v>38351.125</c:v>
                </c:pt>
                <c:pt idx="19">
                  <c:v>38351.625</c:v>
                </c:pt>
              </c:numCache>
            </c:numRef>
          </c:cat>
          <c:val>
            <c:numRef>
              <c:f>Άνεμος.!$C$14:$C$33</c:f>
              <c:numCache>
                <c:formatCode>General</c:formatCode>
                <c:ptCount val="20"/>
                <c:pt idx="0">
                  <c:v>-0.84808319302461743</c:v>
                </c:pt>
                <c:pt idx="1">
                  <c:v>-0.62240503199383124</c:v>
                </c:pt>
                <c:pt idx="2">
                  <c:v>7.3095498215961785E-2</c:v>
                </c:pt>
                <c:pt idx="3">
                  <c:v>-0.47977802672505887</c:v>
                </c:pt>
                <c:pt idx="4">
                  <c:v>-0.12869403145047825</c:v>
                </c:pt>
                <c:pt idx="5">
                  <c:v>-0.66238127350514286</c:v>
                </c:pt>
                <c:pt idx="6">
                  <c:v>-0.43430779377704687</c:v>
                </c:pt>
                <c:pt idx="7">
                  <c:v>-0.38166550126859322</c:v>
                </c:pt>
                <c:pt idx="8">
                  <c:v>-0.78394240061431864</c:v>
                </c:pt>
                <c:pt idx="9">
                  <c:v>-1.0349126065510323</c:v>
                </c:pt>
                <c:pt idx="10">
                  <c:v>-0.79161178972109636</c:v>
                </c:pt>
                <c:pt idx="11">
                  <c:v>-0.12670711826190539</c:v>
                </c:pt>
                <c:pt idx="12">
                  <c:v>0.21032870545863991</c:v>
                </c:pt>
                <c:pt idx="13">
                  <c:v>0.18489908453082388</c:v>
                </c:pt>
                <c:pt idx="14">
                  <c:v>-0.61529258294443534</c:v>
                </c:pt>
                <c:pt idx="15">
                  <c:v>-9.9115476109303893E-2</c:v>
                </c:pt>
                <c:pt idx="16">
                  <c:v>3.4562157141128785E-2</c:v>
                </c:pt>
                <c:pt idx="17">
                  <c:v>-0.35391893123299945</c:v>
                </c:pt>
                <c:pt idx="18">
                  <c:v>-0.74854861685856267</c:v>
                </c:pt>
                <c:pt idx="19">
                  <c:v>-0.89277721667445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C2-4E8A-AAA4-B165904AC9CF}"/>
            </c:ext>
          </c:extLst>
        </c:ser>
        <c:ser>
          <c:idx val="2"/>
          <c:order val="2"/>
          <c:tx>
            <c:strRef>
              <c:f>Άνεμος.!$D$1</c:f>
              <c:strCache>
                <c:ptCount val="1"/>
                <c:pt idx="0">
                  <c:v>Μετεωρολογική πρόβλεψη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Άνεμος.!$A$14:$A$33</c:f>
              <c:numCache>
                <c:formatCode>d/m/yy\ h:mm;@</c:formatCode>
                <c:ptCount val="20"/>
                <c:pt idx="0">
                  <c:v>38342.125</c:v>
                </c:pt>
                <c:pt idx="1">
                  <c:v>38342.625</c:v>
                </c:pt>
                <c:pt idx="2">
                  <c:v>38343.125</c:v>
                </c:pt>
                <c:pt idx="3">
                  <c:v>38343.625</c:v>
                </c:pt>
                <c:pt idx="4">
                  <c:v>38344.125</c:v>
                </c:pt>
                <c:pt idx="5">
                  <c:v>38344.625</c:v>
                </c:pt>
                <c:pt idx="6">
                  <c:v>38345.125</c:v>
                </c:pt>
                <c:pt idx="7">
                  <c:v>38345.625</c:v>
                </c:pt>
                <c:pt idx="8">
                  <c:v>38346.125</c:v>
                </c:pt>
                <c:pt idx="9">
                  <c:v>38346.625</c:v>
                </c:pt>
                <c:pt idx="10">
                  <c:v>38347.125</c:v>
                </c:pt>
                <c:pt idx="11">
                  <c:v>38347.625</c:v>
                </c:pt>
                <c:pt idx="12">
                  <c:v>38348.125</c:v>
                </c:pt>
                <c:pt idx="13">
                  <c:v>38348.625</c:v>
                </c:pt>
                <c:pt idx="14">
                  <c:v>38349.125</c:v>
                </c:pt>
                <c:pt idx="15">
                  <c:v>38349.625</c:v>
                </c:pt>
                <c:pt idx="16">
                  <c:v>38350.125</c:v>
                </c:pt>
                <c:pt idx="17">
                  <c:v>38350.625</c:v>
                </c:pt>
                <c:pt idx="18">
                  <c:v>38351.125</c:v>
                </c:pt>
                <c:pt idx="19">
                  <c:v>38351.625</c:v>
                </c:pt>
              </c:numCache>
            </c:numRef>
          </c:cat>
          <c:val>
            <c:numRef>
              <c:f>Άνεμος.!$D$14:$D$33</c:f>
              <c:numCache>
                <c:formatCode>General</c:formatCode>
                <c:ptCount val="20"/>
                <c:pt idx="0">
                  <c:v>-1.2754630976732395</c:v>
                </c:pt>
                <c:pt idx="1">
                  <c:v>-1.0411981519089204</c:v>
                </c:pt>
                <c:pt idx="2">
                  <c:v>0.83413816822068221</c:v>
                </c:pt>
                <c:pt idx="3">
                  <c:v>0.65797594808671023</c:v>
                </c:pt>
                <c:pt idx="4">
                  <c:v>-0.1310722724252032</c:v>
                </c:pt>
                <c:pt idx="5">
                  <c:v>-3.2345409850087742E-2</c:v>
                </c:pt>
                <c:pt idx="6">
                  <c:v>-0.15772262707362344</c:v>
                </c:pt>
                <c:pt idx="7">
                  <c:v>-0.41344619238480917</c:v>
                </c:pt>
                <c:pt idx="8">
                  <c:v>-0.99968300264477095</c:v>
                </c:pt>
                <c:pt idx="9">
                  <c:v>-1.2950694655378385</c:v>
                </c:pt>
                <c:pt idx="10">
                  <c:v>-0.17557743572143833</c:v>
                </c:pt>
                <c:pt idx="11">
                  <c:v>0.77153675905434549</c:v>
                </c:pt>
                <c:pt idx="12">
                  <c:v>0.65740372695984473</c:v>
                </c:pt>
                <c:pt idx="13">
                  <c:v>0.21910290718348183</c:v>
                </c:pt>
                <c:pt idx="14">
                  <c:v>0.49293734620796814</c:v>
                </c:pt>
                <c:pt idx="15">
                  <c:v>0.66690672658343308</c:v>
                </c:pt>
                <c:pt idx="16">
                  <c:v>1.0686563916604692</c:v>
                </c:pt>
                <c:pt idx="17">
                  <c:v>0.21898113127966728</c:v>
                </c:pt>
                <c:pt idx="18">
                  <c:v>-1.2470997287631853</c:v>
                </c:pt>
                <c:pt idx="19">
                  <c:v>-0.464085787261764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C2-4E8A-AAA4-B165904AC9CF}"/>
            </c:ext>
          </c:extLst>
        </c:ser>
        <c:ser>
          <c:idx val="3"/>
          <c:order val="3"/>
          <c:tx>
            <c:strRef>
              <c:f>Άνεμος.!$E$1</c:f>
              <c:strCache>
                <c:ptCount val="1"/>
                <c:pt idx="0">
                  <c:v>ΣΠΜ2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Άνεμος.!$A$14:$A$33</c:f>
              <c:numCache>
                <c:formatCode>d/m/yy\ h:mm;@</c:formatCode>
                <c:ptCount val="20"/>
                <c:pt idx="0">
                  <c:v>38342.125</c:v>
                </c:pt>
                <c:pt idx="1">
                  <c:v>38342.625</c:v>
                </c:pt>
                <c:pt idx="2">
                  <c:v>38343.125</c:v>
                </c:pt>
                <c:pt idx="3">
                  <c:v>38343.625</c:v>
                </c:pt>
                <c:pt idx="4">
                  <c:v>38344.125</c:v>
                </c:pt>
                <c:pt idx="5">
                  <c:v>38344.625</c:v>
                </c:pt>
                <c:pt idx="6">
                  <c:v>38345.125</c:v>
                </c:pt>
                <c:pt idx="7">
                  <c:v>38345.625</c:v>
                </c:pt>
                <c:pt idx="8">
                  <c:v>38346.125</c:v>
                </c:pt>
                <c:pt idx="9">
                  <c:v>38346.625</c:v>
                </c:pt>
                <c:pt idx="10">
                  <c:v>38347.125</c:v>
                </c:pt>
                <c:pt idx="11">
                  <c:v>38347.625</c:v>
                </c:pt>
                <c:pt idx="12">
                  <c:v>38348.125</c:v>
                </c:pt>
                <c:pt idx="13">
                  <c:v>38348.625</c:v>
                </c:pt>
                <c:pt idx="14">
                  <c:v>38349.125</c:v>
                </c:pt>
                <c:pt idx="15">
                  <c:v>38349.625</c:v>
                </c:pt>
                <c:pt idx="16">
                  <c:v>38350.125</c:v>
                </c:pt>
                <c:pt idx="17">
                  <c:v>38350.625</c:v>
                </c:pt>
                <c:pt idx="18">
                  <c:v>38351.125</c:v>
                </c:pt>
                <c:pt idx="19">
                  <c:v>38351.625</c:v>
                </c:pt>
              </c:numCache>
            </c:numRef>
          </c:cat>
          <c:val>
            <c:numRef>
              <c:f>Άνεμος.!$E$14:$E$33</c:f>
              <c:numCache>
                <c:formatCode>General</c:formatCode>
                <c:ptCount val="20"/>
                <c:pt idx="0">
                  <c:v>-0.89287015761921928</c:v>
                </c:pt>
                <c:pt idx="1">
                  <c:v>-0.66686688366954427</c:v>
                </c:pt>
                <c:pt idx="2">
                  <c:v>0.3900991946116657</c:v>
                </c:pt>
                <c:pt idx="3">
                  <c:v>-0.17785428555632862</c:v>
                </c:pt>
                <c:pt idx="4">
                  <c:v>-8.4886298273184307E-2</c:v>
                </c:pt>
                <c:pt idx="5">
                  <c:v>-0.44138498240023422</c:v>
                </c:pt>
                <c:pt idx="6">
                  <c:v>-0.27875428121973278</c:v>
                </c:pt>
                <c:pt idx="7">
                  <c:v>-0.35203955017692984</c:v>
                </c:pt>
                <c:pt idx="8">
                  <c:v>-0.82155888300171775</c:v>
                </c:pt>
                <c:pt idx="9">
                  <c:v>-1.0798132615033027</c:v>
                </c:pt>
                <c:pt idx="10">
                  <c:v>-0.56884868311424019</c:v>
                </c:pt>
                <c:pt idx="11">
                  <c:v>0.15874521810250083</c:v>
                </c:pt>
                <c:pt idx="12">
                  <c:v>0.34900063559294237</c:v>
                </c:pt>
                <c:pt idx="13">
                  <c:v>0.1856962622564173</c:v>
                </c:pt>
                <c:pt idx="14">
                  <c:v>-0.36101758468020562</c:v>
                </c:pt>
                <c:pt idx="15">
                  <c:v>0.12769324500327733</c:v>
                </c:pt>
                <c:pt idx="16">
                  <c:v>0.36270681179575981</c:v>
                </c:pt>
                <c:pt idx="17">
                  <c:v>-0.2388513637559212</c:v>
                </c:pt>
                <c:pt idx="18">
                  <c:v>-0.88086213539692593</c:v>
                </c:pt>
                <c:pt idx="19">
                  <c:v>-0.75851323248483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7C2-4E8A-AAA4-B165904AC9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0683664"/>
        <c:axId val="546848416"/>
      </c:barChart>
      <c:catAx>
        <c:axId val="750683664"/>
        <c:scaling>
          <c:orientation val="minMax"/>
        </c:scaling>
        <c:delete val="0"/>
        <c:axPos val="b"/>
        <c:numFmt formatCode="d/m/yy\ h:m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546848416"/>
        <c:crosses val="autoZero"/>
        <c:auto val="0"/>
        <c:lblAlgn val="ctr"/>
        <c:lblOffset val="100"/>
        <c:noMultiLvlLbl val="0"/>
      </c:catAx>
      <c:valAx>
        <c:axId val="546848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l-GR"/>
          </a:p>
        </c:txPr>
        <c:crossAx val="750683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l-GR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rgbClr val="FF0000"/>
      </a:solidFill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l-GR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drawings/_rels/vmlDrawing5.vml.rels><?xml version="1.0" encoding="UTF-8" standalone="yes"?>
<Relationships xmlns="http://schemas.openxmlformats.org/package/2006/relationships"><Relationship Id="rId8" Type="http://schemas.openxmlformats.org/officeDocument/2006/relationships/image" Target="../media/image20.wmf"/><Relationship Id="rId3" Type="http://schemas.openxmlformats.org/officeDocument/2006/relationships/image" Target="../media/image15.wmf"/><Relationship Id="rId7" Type="http://schemas.openxmlformats.org/officeDocument/2006/relationships/image" Target="../media/image19.wmf"/><Relationship Id="rId2" Type="http://schemas.openxmlformats.org/officeDocument/2006/relationships/image" Target="../media/image14.wmf"/><Relationship Id="rId1" Type="http://schemas.openxmlformats.org/officeDocument/2006/relationships/image" Target="../media/image13.wmf"/><Relationship Id="rId6" Type="http://schemas.openxmlformats.org/officeDocument/2006/relationships/image" Target="../media/image18.wmf"/><Relationship Id="rId5" Type="http://schemas.openxmlformats.org/officeDocument/2006/relationships/image" Target="../media/image17.wmf"/><Relationship Id="rId4" Type="http://schemas.openxmlformats.org/officeDocument/2006/relationships/image" Target="../media/image16.wmf"/><Relationship Id="rId9" Type="http://schemas.openxmlformats.org/officeDocument/2006/relationships/image" Target="../media/image21.w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3847</cdr:x>
      <cdr:y>0</cdr:y>
    </cdr:from>
    <cdr:to>
      <cdr:x>0.66485</cdr:x>
      <cdr:y>0.0700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133600" y="0"/>
          <a:ext cx="20574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l-GR" sz="16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Θερμοκρασία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21628</cdr:x>
      <cdr:y>0.05353</cdr:y>
    </cdr:from>
    <cdr:to>
      <cdr:x>0.47619</cdr:x>
      <cdr:y>0.16313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AEB8D866-C28B-4C4F-AD0C-BC2B175C7CEC}"/>
            </a:ext>
          </a:extLst>
        </cdr:cNvPr>
        <cdr:cNvSpPr txBox="1"/>
      </cdr:nvSpPr>
      <cdr:spPr>
        <a:xfrm xmlns:a="http://schemas.openxmlformats.org/drawingml/2006/main">
          <a:off x="1615062" y="244749"/>
          <a:ext cx="1940937" cy="5010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l-GR" sz="1400" b="1" dirty="0">
              <a:solidFill>
                <a:srgbClr val="0000FF"/>
              </a:solidFill>
              <a:latin typeface="Times New Roman" pitchFamily="18" charset="0"/>
              <a:cs typeface="Times New Roman" pitchFamily="18" charset="0"/>
            </a:rPr>
            <a:t>Ταχύτητα ανέμου 12ωρη πρόγνωση</a:t>
          </a: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40845</cdr:x>
      <cdr:y>0</cdr:y>
    </cdr:from>
    <cdr:to>
      <cdr:x>0.57746</cdr:x>
      <cdr:y>0.0952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209796" y="0"/>
          <a:ext cx="914378" cy="3048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6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ΣΜ1</a:t>
          </a: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75005</cdr:x>
      <cdr:y>0.79602</cdr:y>
    </cdr:from>
    <cdr:to>
      <cdr:x>0.97507</cdr:x>
      <cdr:y>0.91449</cdr:y>
    </cdr:to>
    <cdr:sp macro="" textlink="">
      <cdr:nvSpPr>
        <cdr:cNvPr id="2" name="Πλαίσιο κειμένου 3"/>
        <cdr:cNvSpPr txBox="1"/>
      </cdr:nvSpPr>
      <cdr:spPr>
        <a:xfrm xmlns:a="http://schemas.openxmlformats.org/drawingml/2006/main" rot="19677893">
          <a:off x="3955973" y="2650692"/>
          <a:ext cx="1186833" cy="39451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6350">
          <a:noFill/>
        </a:ln>
      </cdr:spPr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107000"/>
            </a:lnSpc>
            <a:spcAft>
              <a:spcPts val="800"/>
            </a:spcAft>
          </a:pPr>
          <a:r>
            <a:rPr lang="el-GR" sz="900">
              <a:solidFill>
                <a:srgbClr val="3B3838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ΧΡΟΝΙΚΟ ΒΑΘΟΣ ΠΡΟΓΝΩΣΗΣ</a:t>
          </a:r>
          <a:endParaRPr lang="el-GR" sz="1100">
            <a:effectLst/>
            <a:latin typeface="Calibri" panose="020F0502020204030204" pitchFamily="34" charset="0"/>
            <a:ea typeface="Calibri" panose="020F0502020204030204" pitchFamily="34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11913</cdr:x>
      <cdr:y>0.79239</cdr:y>
    </cdr:from>
    <cdr:to>
      <cdr:x>0.34621</cdr:x>
      <cdr:y>0.93613</cdr:y>
    </cdr:to>
    <cdr:sp macro="" textlink="">
      <cdr:nvSpPr>
        <cdr:cNvPr id="3" name="Πλαίσιο κειμένου 3"/>
        <cdr:cNvSpPr txBox="1"/>
      </cdr:nvSpPr>
      <cdr:spPr>
        <a:xfrm xmlns:a="http://schemas.openxmlformats.org/drawingml/2006/main" rot="1362998">
          <a:off x="628341" y="2638600"/>
          <a:ext cx="1197677" cy="47864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6350">
          <a:noFill/>
        </a:ln>
      </cdr:spPr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107000"/>
            </a:lnSpc>
            <a:spcAft>
              <a:spcPts val="800"/>
            </a:spcAft>
          </a:pPr>
          <a:r>
            <a:rPr lang="el-GR" sz="900">
              <a:solidFill>
                <a:srgbClr val="3B3838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ΣΥΝΤΕΛΕΣΤΕΣ ΒΑΡΥΤΗΤΑΣ ΜΕΘΟΔΟΥ ΣΜ10</a:t>
          </a:r>
          <a:endParaRPr lang="el-GR" sz="1100">
            <a:effectLst/>
            <a:latin typeface="Calibri" panose="020F0502020204030204" pitchFamily="34" charset="0"/>
            <a:ea typeface="Calibri" panose="020F0502020204030204" pitchFamily="34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41331</cdr:x>
      <cdr:y>0</cdr:y>
    </cdr:from>
    <cdr:to>
      <cdr:x>0.58668</cdr:x>
      <cdr:y>0.09154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2179951" y="-1752600"/>
          <a:ext cx="914407" cy="3048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600" b="1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rPr>
            <a:t>ΣΜ10</a:t>
          </a:r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41116</cdr:x>
      <cdr:y>0</cdr:y>
    </cdr:from>
    <cdr:to>
      <cdr:x>0.58737</cdr:x>
      <cdr:y>0.0946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133600" y="-76200"/>
          <a:ext cx="9144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600" b="1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rPr>
            <a:t>ΣΠΜ1</a:t>
          </a:r>
        </a:p>
      </cdr:txBody>
    </cdr:sp>
  </cdr:relSizeAnchor>
</c:userShapes>
</file>

<file path=ppt/drawings/drawing14.xml><?xml version="1.0" encoding="utf-8"?>
<c:userShapes xmlns:c="http://schemas.openxmlformats.org/drawingml/2006/chart">
  <cdr:relSizeAnchor xmlns:cdr="http://schemas.openxmlformats.org/drawingml/2006/chartDrawing">
    <cdr:from>
      <cdr:x>0.15854</cdr:x>
      <cdr:y>0.7321</cdr:y>
    </cdr:from>
    <cdr:to>
      <cdr:x>0.38561</cdr:x>
      <cdr:y>0.88855</cdr:y>
    </cdr:to>
    <cdr:sp macro="" textlink="">
      <cdr:nvSpPr>
        <cdr:cNvPr id="3" name="Πλαίσιο κειμένου 3"/>
        <cdr:cNvSpPr txBox="1"/>
      </cdr:nvSpPr>
      <cdr:spPr>
        <a:xfrm xmlns:a="http://schemas.openxmlformats.org/drawingml/2006/main" rot="1362998">
          <a:off x="836175" y="2499209"/>
          <a:ext cx="1197677" cy="53409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6350">
          <a:noFill/>
        </a:ln>
      </cdr:spPr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lnSpc>
              <a:spcPct val="107000"/>
            </a:lnSpc>
            <a:spcAft>
              <a:spcPts val="800"/>
            </a:spcAft>
          </a:pPr>
          <a:r>
            <a:rPr lang="el-GR" sz="900">
              <a:solidFill>
                <a:srgbClr val="3B3838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ΣΥΝΤΕΛΕΣΤΕΣ ΒΑΡΥΤΗΤΑΣ ΜΕΘΟΔΟΥ ΣΠΜ10</a:t>
          </a:r>
          <a:endParaRPr lang="el-GR" sz="1100">
            <a:effectLst/>
            <a:latin typeface="Calibri" panose="020F0502020204030204" pitchFamily="34" charset="0"/>
            <a:ea typeface="Calibri" panose="020F0502020204030204" pitchFamily="34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8336</cdr:x>
      <cdr:y>0.78489</cdr:y>
    </cdr:from>
    <cdr:to>
      <cdr:x>0.9974</cdr:x>
      <cdr:y>0.93512</cdr:y>
    </cdr:to>
    <cdr:sp macro="" textlink="">
      <cdr:nvSpPr>
        <cdr:cNvPr id="4" name="Πλαίσιο κειμένου 3"/>
        <cdr:cNvSpPr txBox="1"/>
      </cdr:nvSpPr>
      <cdr:spPr>
        <a:xfrm xmlns:a="http://schemas.openxmlformats.org/drawingml/2006/main" rot="19677893">
          <a:off x="4396663" y="2679432"/>
          <a:ext cx="863933" cy="51283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6350">
          <a:noFill/>
        </a:ln>
      </cdr:spPr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lnSpc>
              <a:spcPct val="107000"/>
            </a:lnSpc>
            <a:spcAft>
              <a:spcPts val="800"/>
            </a:spcAft>
          </a:pPr>
          <a:r>
            <a:rPr lang="el-GR" sz="900">
              <a:solidFill>
                <a:srgbClr val="3B3838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ΧΡΟΝΙΚΟ ΒΑΘΟΣ ΠΡΟΓΝΩΣΗΣ</a:t>
          </a:r>
          <a:endParaRPr lang="el-GR" sz="1100">
            <a:effectLst/>
            <a:latin typeface="Calibri" panose="020F0502020204030204" pitchFamily="34" charset="0"/>
            <a:ea typeface="Calibri" panose="020F0502020204030204" pitchFamily="34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41331</cdr:x>
      <cdr:y>0.01116</cdr:y>
    </cdr:from>
    <cdr:to>
      <cdr:x>0.58668</cdr:x>
      <cdr:y>0.10045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2179951" y="38085"/>
          <a:ext cx="914407" cy="30481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600" b="1" dirty="0">
              <a:solidFill>
                <a:schemeClr val="accent6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rPr>
            <a:t>ΣΠΜ10</a:t>
          </a:r>
        </a:p>
      </cdr:txBody>
    </cdr:sp>
  </cdr:relSizeAnchor>
</c:userShapes>
</file>

<file path=ppt/drawings/drawing15.xml><?xml version="1.0" encoding="utf-8"?>
<c:userShapes xmlns:c="http://schemas.openxmlformats.org/drawingml/2006/chart">
  <cdr:relSizeAnchor xmlns:cdr="http://schemas.openxmlformats.org/drawingml/2006/chartDrawing">
    <cdr:from>
      <cdr:x>0.41776</cdr:x>
      <cdr:y>0</cdr:y>
    </cdr:from>
    <cdr:to>
      <cdr:x>0.59243</cdr:x>
      <cdr:y>0.0968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186940" y="-53340"/>
          <a:ext cx="9144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600" b="1" dirty="0">
              <a:solidFill>
                <a:srgbClr val="990099"/>
              </a:solidFill>
              <a:latin typeface="Times New Roman" pitchFamily="18" charset="0"/>
              <a:cs typeface="Times New Roman" pitchFamily="18" charset="0"/>
            </a:rPr>
            <a:t>ΣΠΑΜ</a:t>
          </a:r>
        </a:p>
      </cdr:txBody>
    </cdr:sp>
  </cdr:relSizeAnchor>
</c:userShapes>
</file>

<file path=ppt/drawings/drawing16.xml><?xml version="1.0" encoding="utf-8"?>
<c:userShapes xmlns:c="http://schemas.openxmlformats.org/drawingml/2006/chart">
  <cdr:relSizeAnchor xmlns:cdr="http://schemas.openxmlformats.org/drawingml/2006/chartDrawing">
    <cdr:from>
      <cdr:x>0.33711</cdr:x>
      <cdr:y>0.10893</cdr:y>
    </cdr:from>
    <cdr:to>
      <cdr:x>0.3672</cdr:x>
      <cdr:y>0.76121</cdr:y>
    </cdr:to>
    <cdr:cxnSp macro="">
      <cdr:nvCxnSpPr>
        <cdr:cNvPr id="4" name="Γραμμή σύνδεσης: Καμπύλη 3">
          <a:extLst xmlns:a="http://schemas.openxmlformats.org/drawingml/2006/main">
            <a:ext uri="{FF2B5EF4-FFF2-40B4-BE49-F238E27FC236}">
              <a16:creationId xmlns:a16="http://schemas.microsoft.com/office/drawing/2014/main" id="{1FE46740-A9F2-437F-8159-7F8EF525D71C}"/>
            </a:ext>
          </a:extLst>
        </cdr:cNvPr>
        <cdr:cNvCxnSpPr/>
      </cdr:nvCxnSpPr>
      <cdr:spPr>
        <a:xfrm xmlns:a="http://schemas.openxmlformats.org/drawingml/2006/main" flipH="1">
          <a:off x="1778000" y="323850"/>
          <a:ext cx="158750" cy="1939290"/>
        </a:xfrm>
        <a:prstGeom xmlns:a="http://schemas.openxmlformats.org/drawingml/2006/main" prst="curvedConnector3">
          <a:avLst>
            <a:gd name="adj1" fmla="val -209790"/>
          </a:avLst>
        </a:prstGeom>
        <a:ln xmlns:a="http://schemas.openxmlformats.org/drawingml/2006/main">
          <a:solidFill>
            <a:srgbClr val="00B050"/>
          </a:solidFill>
          <a:prstDash val="dash"/>
          <a:headEnd type="triangle" w="med" len="med"/>
          <a:tailEnd type="none" w="med" len="med"/>
        </a:ln>
      </cdr:spPr>
      <cdr:style>
        <a:lnRef xmlns:a="http://schemas.openxmlformats.org/drawingml/2006/main" idx="3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2">
          <a:schemeClr val="accent6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1664</cdr:x>
      <cdr:y>0.09398</cdr:y>
    </cdr:from>
    <cdr:to>
      <cdr:x>0.34674</cdr:x>
      <cdr:y>0.74626</cdr:y>
    </cdr:to>
    <cdr:cxnSp macro="">
      <cdr:nvCxnSpPr>
        <cdr:cNvPr id="7" name="Γραμμή σύνδεσης: Καμπύλη 6">
          <a:extLst xmlns:a="http://schemas.openxmlformats.org/drawingml/2006/main">
            <a:ext uri="{FF2B5EF4-FFF2-40B4-BE49-F238E27FC236}">
              <a16:creationId xmlns:a16="http://schemas.microsoft.com/office/drawing/2014/main" id="{85333D7E-A60E-4612-B63D-F1E01B44CF2D}"/>
            </a:ext>
          </a:extLst>
        </cdr:cNvPr>
        <cdr:cNvCxnSpPr/>
      </cdr:nvCxnSpPr>
      <cdr:spPr>
        <a:xfrm xmlns:a="http://schemas.openxmlformats.org/drawingml/2006/main" flipH="1">
          <a:off x="1670050" y="279400"/>
          <a:ext cx="158750" cy="1939290"/>
        </a:xfrm>
        <a:prstGeom xmlns:a="http://schemas.openxmlformats.org/drawingml/2006/main" prst="curvedConnector3">
          <a:avLst>
            <a:gd name="adj1" fmla="val 270210"/>
          </a:avLst>
        </a:prstGeom>
        <a:ln xmlns:a="http://schemas.openxmlformats.org/drawingml/2006/main">
          <a:solidFill>
            <a:srgbClr val="00B050"/>
          </a:solidFill>
          <a:prstDash val="dash"/>
          <a:headEnd type="none" w="med" len="med"/>
          <a:tailEnd type="triangle" w="med" len="med"/>
        </a:ln>
      </cdr:spPr>
      <cdr:style>
        <a:lnRef xmlns:a="http://schemas.openxmlformats.org/drawingml/2006/main" idx="3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2">
          <a:schemeClr val="accent6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17.xml><?xml version="1.0" encoding="utf-8"?>
<c:userShapes xmlns:c="http://schemas.openxmlformats.org/drawingml/2006/chart">
  <cdr:relSizeAnchor xmlns:cdr="http://schemas.openxmlformats.org/drawingml/2006/chartDrawing">
    <cdr:from>
      <cdr:x>0.28874</cdr:x>
      <cdr:y>0</cdr:y>
    </cdr:from>
    <cdr:to>
      <cdr:x>0.67854</cdr:x>
      <cdr:y>0.0833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24000" y="0"/>
          <a:ext cx="20574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6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Θερμοκρασία</a:t>
          </a:r>
        </a:p>
      </cdr:txBody>
    </cdr:sp>
  </cdr:relSizeAnchor>
</c:userShapes>
</file>

<file path=ppt/drawings/drawing18.xml><?xml version="1.0" encoding="utf-8"?>
<c:userShapes xmlns:c="http://schemas.openxmlformats.org/drawingml/2006/chart">
  <cdr:relSizeAnchor xmlns:cdr="http://schemas.openxmlformats.org/drawingml/2006/chartDrawing">
    <cdr:from>
      <cdr:x>0.28986</cdr:x>
      <cdr:y>0</cdr:y>
    </cdr:from>
    <cdr:to>
      <cdr:x>0.68116</cdr:x>
      <cdr:y>0.0834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24000" y="0"/>
          <a:ext cx="20574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600" b="1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rPr>
            <a:t>Ταχύτητα ανέμου</a:t>
          </a:r>
        </a:p>
      </cdr:txBody>
    </cdr:sp>
  </cdr:relSizeAnchor>
</c:userShapes>
</file>

<file path=ppt/drawings/drawing19.xml><?xml version="1.0" encoding="utf-8"?>
<c:userShapes xmlns:c="http://schemas.openxmlformats.org/drawingml/2006/chart">
  <cdr:relSizeAnchor xmlns:cdr="http://schemas.openxmlformats.org/drawingml/2006/chartDrawing">
    <cdr:from>
      <cdr:x>0.28951</cdr:x>
      <cdr:y>0</cdr:y>
    </cdr:from>
    <cdr:to>
      <cdr:x>0.68034</cdr:x>
      <cdr:y>0.0842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24000" y="-76200"/>
          <a:ext cx="20574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600" b="1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rPr>
            <a:t>Κατακρήμνιση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4146</cdr:x>
      <cdr:y>0</cdr:y>
    </cdr:from>
    <cdr:to>
      <cdr:x>0.67073</cdr:x>
      <cdr:y>0.0701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133600" y="0"/>
          <a:ext cx="20574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600" b="1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rPr>
            <a:t>Ταχύτητα ανέμου</a:t>
          </a:r>
        </a:p>
      </cdr:txBody>
    </cdr:sp>
  </cdr:relSizeAnchor>
</c:userShapes>
</file>

<file path=ppt/drawings/drawing20.xml><?xml version="1.0" encoding="utf-8"?>
<c:userShapes xmlns:c="http://schemas.openxmlformats.org/drawingml/2006/chart">
  <cdr:relSizeAnchor xmlns:cdr="http://schemas.openxmlformats.org/drawingml/2006/chartDrawing">
    <cdr:from>
      <cdr:x>0.29809</cdr:x>
      <cdr:y>0</cdr:y>
    </cdr:from>
    <cdr:to>
      <cdr:x>0.66688</cdr:x>
      <cdr:y>0.0884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752600" y="-76200"/>
          <a:ext cx="2168302" cy="3301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6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Αττική</a:t>
          </a:r>
        </a:p>
      </cdr:txBody>
    </cdr:sp>
  </cdr:relSizeAnchor>
</c:userShapes>
</file>

<file path=ppt/drawings/drawing21.xml><?xml version="1.0" encoding="utf-8"?>
<c:userShapes xmlns:c="http://schemas.openxmlformats.org/drawingml/2006/chart">
  <cdr:relSizeAnchor xmlns:cdr="http://schemas.openxmlformats.org/drawingml/2006/chartDrawing">
    <cdr:from>
      <cdr:x>0.2987</cdr:x>
      <cdr:y>0</cdr:y>
    </cdr:from>
    <cdr:to>
      <cdr:x>0.66825</cdr:x>
      <cdr:y>0.0884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365657" y="0"/>
          <a:ext cx="1689583" cy="2419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600" b="1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rPr>
            <a:t>Λονδίνο</a:t>
          </a:r>
        </a:p>
      </cdr:txBody>
    </cdr:sp>
  </cdr:relSizeAnchor>
  <cdr:relSizeAnchor xmlns:cdr="http://schemas.openxmlformats.org/drawingml/2006/chartDrawing">
    <cdr:from>
      <cdr:x>0.56667</cdr:x>
      <cdr:y>0.69362</cdr:y>
    </cdr:from>
    <cdr:to>
      <cdr:x>0.75</cdr:x>
      <cdr:y>0.72147</cdr:y>
    </cdr:to>
    <cdr:cxnSp macro="">
      <cdr:nvCxnSpPr>
        <cdr:cNvPr id="3" name="Ευθύγραμμο βέλος σύνδεσης 2">
          <a:extLst xmlns:a="http://schemas.openxmlformats.org/drawingml/2006/main">
            <a:ext uri="{FF2B5EF4-FFF2-40B4-BE49-F238E27FC236}">
              <a16:creationId xmlns:a16="http://schemas.microsoft.com/office/drawing/2014/main" id="{7AECBF2F-DCE5-4051-B2BF-C5C25D0CFE17}"/>
            </a:ext>
          </a:extLst>
        </cdr:cNvPr>
        <cdr:cNvCxnSpPr/>
      </cdr:nvCxnSpPr>
      <cdr:spPr>
        <a:xfrm xmlns:a="http://schemas.openxmlformats.org/drawingml/2006/main" flipH="1">
          <a:off x="2590800" y="1897627"/>
          <a:ext cx="838185" cy="76193"/>
        </a:xfrm>
        <a:prstGeom xmlns:a="http://schemas.openxmlformats.org/drawingml/2006/main" prst="straightConnector1">
          <a:avLst/>
        </a:prstGeom>
        <a:ln xmlns:a="http://schemas.openxmlformats.org/drawingml/2006/main" w="57150">
          <a:solidFill>
            <a:srgbClr val="FF0000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2.xml><?xml version="1.0" encoding="utf-8"?>
<c:userShapes xmlns:c="http://schemas.openxmlformats.org/drawingml/2006/chart">
  <cdr:relSizeAnchor xmlns:cdr="http://schemas.openxmlformats.org/drawingml/2006/chartDrawing">
    <cdr:from>
      <cdr:x>0.31169</cdr:x>
      <cdr:y>0</cdr:y>
    </cdr:from>
    <cdr:to>
      <cdr:x>0.68124</cdr:x>
      <cdr:y>0.0884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828800" y="-76200"/>
          <a:ext cx="2168302" cy="3301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600" b="1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rPr>
            <a:t>Μελβούρνη</a:t>
          </a:r>
        </a:p>
      </cdr:txBody>
    </cdr:sp>
  </cdr:relSizeAnchor>
  <cdr:relSizeAnchor xmlns:cdr="http://schemas.openxmlformats.org/drawingml/2006/chartDrawing">
    <cdr:from>
      <cdr:x>0.5</cdr:x>
      <cdr:y>0.66726</cdr:y>
    </cdr:from>
    <cdr:to>
      <cdr:x>0.69838</cdr:x>
      <cdr:y>0.66726</cdr:y>
    </cdr:to>
    <cdr:cxnSp macro="">
      <cdr:nvCxnSpPr>
        <cdr:cNvPr id="3" name="Ευθύγραμμο βέλος σύνδεσης 2">
          <a:extLst xmlns:a="http://schemas.openxmlformats.org/drawingml/2006/main">
            <a:ext uri="{FF2B5EF4-FFF2-40B4-BE49-F238E27FC236}">
              <a16:creationId xmlns:a16="http://schemas.microsoft.com/office/drawing/2014/main" id="{269C4BF2-5882-440B-9097-0E9FC1BD2CB5}"/>
            </a:ext>
          </a:extLst>
        </cdr:cNvPr>
        <cdr:cNvCxnSpPr/>
      </cdr:nvCxnSpPr>
      <cdr:spPr>
        <a:xfrm xmlns:a="http://schemas.openxmlformats.org/drawingml/2006/main" flipH="1">
          <a:off x="2286000" y="1828800"/>
          <a:ext cx="906994" cy="0"/>
        </a:xfrm>
        <a:prstGeom xmlns:a="http://schemas.openxmlformats.org/drawingml/2006/main" prst="straightConnector1">
          <a:avLst/>
        </a:prstGeom>
        <a:ln xmlns:a="http://schemas.openxmlformats.org/drawingml/2006/main" w="57150">
          <a:solidFill>
            <a:srgbClr val="FF0000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3.xml><?xml version="1.0" encoding="utf-8"?>
<c:userShapes xmlns:c="http://schemas.openxmlformats.org/drawingml/2006/chart">
  <cdr:relSizeAnchor xmlns:cdr="http://schemas.openxmlformats.org/drawingml/2006/chartDrawing">
    <cdr:from>
      <cdr:x>0.31169</cdr:x>
      <cdr:y>0</cdr:y>
    </cdr:from>
    <cdr:to>
      <cdr:x>0.68124</cdr:x>
      <cdr:y>0.0884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828800" y="-76200"/>
          <a:ext cx="2168302" cy="3301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600" b="1" dirty="0">
              <a:solidFill>
                <a:schemeClr val="accent6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rPr>
            <a:t>Νέα Υόρκη</a:t>
          </a:r>
        </a:p>
      </cdr:txBody>
    </cdr:sp>
  </cdr:relSizeAnchor>
  <cdr:relSizeAnchor xmlns:cdr="http://schemas.openxmlformats.org/drawingml/2006/chartDrawing">
    <cdr:from>
      <cdr:x>0.55</cdr:x>
      <cdr:y>0.72147</cdr:y>
    </cdr:from>
    <cdr:to>
      <cdr:x>0.71666</cdr:x>
      <cdr:y>0.83288</cdr:y>
    </cdr:to>
    <cdr:cxnSp macro="">
      <cdr:nvCxnSpPr>
        <cdr:cNvPr id="3" name="Ευθύγραμμο βέλος σύνδεσης 2">
          <a:extLst xmlns:a="http://schemas.openxmlformats.org/drawingml/2006/main">
            <a:ext uri="{FF2B5EF4-FFF2-40B4-BE49-F238E27FC236}">
              <a16:creationId xmlns:a16="http://schemas.microsoft.com/office/drawing/2014/main" id="{6E95C9B0-FC9E-4E24-8F42-A52B7C5433E9}"/>
            </a:ext>
          </a:extLst>
        </cdr:cNvPr>
        <cdr:cNvCxnSpPr/>
      </cdr:nvCxnSpPr>
      <cdr:spPr>
        <a:xfrm xmlns:a="http://schemas.openxmlformats.org/drawingml/2006/main" flipH="1" flipV="1">
          <a:off x="2514600" y="1973826"/>
          <a:ext cx="761969" cy="304799"/>
        </a:xfrm>
        <a:prstGeom xmlns:a="http://schemas.openxmlformats.org/drawingml/2006/main" prst="straightConnector1">
          <a:avLst/>
        </a:prstGeom>
        <a:ln xmlns:a="http://schemas.openxmlformats.org/drawingml/2006/main" w="57150">
          <a:solidFill>
            <a:srgbClr val="FF0000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4.xml><?xml version="1.0" encoding="utf-8"?>
<c:userShapes xmlns:c="http://schemas.openxmlformats.org/drawingml/2006/chart">
  <cdr:relSizeAnchor xmlns:cdr="http://schemas.openxmlformats.org/drawingml/2006/chartDrawing">
    <cdr:from>
      <cdr:x>0.31378</cdr:x>
      <cdr:y>0</cdr:y>
    </cdr:from>
    <cdr:to>
      <cdr:x>0.68333</cdr:x>
      <cdr:y>0.0884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434617" y="0"/>
          <a:ext cx="1689583" cy="2419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600" b="1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rPr>
            <a:t>Λονδίνο</a:t>
          </a:r>
        </a:p>
      </cdr:txBody>
    </cdr:sp>
  </cdr:relSizeAnchor>
</c:userShapes>
</file>

<file path=ppt/drawings/drawing25.xml><?xml version="1.0" encoding="utf-8"?>
<c:userShapes xmlns:c="http://schemas.openxmlformats.org/drawingml/2006/chart">
  <cdr:relSizeAnchor xmlns:cdr="http://schemas.openxmlformats.org/drawingml/2006/chartDrawing">
    <cdr:from>
      <cdr:x>0.31169</cdr:x>
      <cdr:y>0</cdr:y>
    </cdr:from>
    <cdr:to>
      <cdr:x>0.68124</cdr:x>
      <cdr:y>0.0884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828800" y="-76200"/>
          <a:ext cx="2168302" cy="3301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600" b="1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rPr>
            <a:t>Μελβούρνη</a:t>
          </a:r>
        </a:p>
      </cdr:txBody>
    </cdr:sp>
  </cdr:relSizeAnchor>
</c:userShapes>
</file>

<file path=ppt/drawings/drawing26.xml><?xml version="1.0" encoding="utf-8"?>
<c:userShapes xmlns:c="http://schemas.openxmlformats.org/drawingml/2006/chart">
  <cdr:relSizeAnchor xmlns:cdr="http://schemas.openxmlformats.org/drawingml/2006/chartDrawing">
    <cdr:from>
      <cdr:x>0.28895</cdr:x>
      <cdr:y>0</cdr:y>
    </cdr:from>
    <cdr:to>
      <cdr:x>0.70005</cdr:x>
      <cdr:y>0.1211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24000" y="-152400"/>
          <a:ext cx="2168302" cy="3301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4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Θερμοκρασία</a:t>
          </a:r>
        </a:p>
      </cdr:txBody>
    </cdr:sp>
  </cdr:relSizeAnchor>
</c:userShapes>
</file>

<file path=ppt/drawings/drawing27.xml><?xml version="1.0" encoding="utf-8"?>
<c:userShapes xmlns:c="http://schemas.openxmlformats.org/drawingml/2006/chart">
  <cdr:relSizeAnchor xmlns:cdr="http://schemas.openxmlformats.org/drawingml/2006/chartDrawing">
    <cdr:from>
      <cdr:x>0.28895</cdr:x>
      <cdr:y>0</cdr:y>
    </cdr:from>
    <cdr:to>
      <cdr:x>0.70729</cdr:x>
      <cdr:y>0.1187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24000" y="-240323"/>
          <a:ext cx="2206462" cy="3244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400" b="1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rPr>
            <a:t>Ταχύτητα ανέμου</a:t>
          </a:r>
        </a:p>
      </cdr:txBody>
    </cdr:sp>
  </cdr:relSizeAnchor>
</c:userShapes>
</file>

<file path=ppt/drawings/drawing28.xml><?xml version="1.0" encoding="utf-8"?>
<c:userShapes xmlns:c="http://schemas.openxmlformats.org/drawingml/2006/chart">
  <cdr:relSizeAnchor xmlns:cdr="http://schemas.openxmlformats.org/drawingml/2006/chartDrawing">
    <cdr:from>
      <cdr:x>0.2268</cdr:x>
      <cdr:y>0.01639</cdr:y>
    </cdr:from>
    <cdr:to>
      <cdr:x>0.575</cdr:x>
      <cdr:y>0.1558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2A90A2D3-0B05-4D91-957C-51EE0854BC2D}"/>
            </a:ext>
          </a:extLst>
        </cdr:cNvPr>
        <cdr:cNvSpPr txBox="1"/>
      </cdr:nvSpPr>
      <cdr:spPr>
        <a:xfrm xmlns:a="http://schemas.openxmlformats.org/drawingml/2006/main">
          <a:off x="2073859" y="55919"/>
          <a:ext cx="3183941" cy="47594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l-GR" sz="14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Θερμοκρασία 3ωρη πρόγνωση</a:t>
          </a:r>
        </a:p>
      </cdr:txBody>
    </cdr:sp>
  </cdr:relSizeAnchor>
</c:userShapes>
</file>

<file path=ppt/drawings/drawing29.xml><?xml version="1.0" encoding="utf-8"?>
<c:userShapes xmlns:c="http://schemas.openxmlformats.org/drawingml/2006/chart">
  <cdr:relSizeAnchor xmlns:cdr="http://schemas.openxmlformats.org/drawingml/2006/chartDrawing">
    <cdr:from>
      <cdr:x>0.25</cdr:x>
      <cdr:y>0.0271</cdr:y>
    </cdr:from>
    <cdr:to>
      <cdr:x>0.55799</cdr:x>
      <cdr:y>0.1643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C06A8A-AEEE-4370-8040-4144671CA981}"/>
            </a:ext>
          </a:extLst>
        </cdr:cNvPr>
        <cdr:cNvSpPr txBox="1"/>
      </cdr:nvSpPr>
      <cdr:spPr>
        <a:xfrm xmlns:a="http://schemas.openxmlformats.org/drawingml/2006/main">
          <a:off x="2286000" y="93406"/>
          <a:ext cx="2816230" cy="472992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l-GR" sz="1400" b="1" dirty="0">
              <a:solidFill>
                <a:srgbClr val="0000FF"/>
              </a:solidFill>
              <a:latin typeface="Times New Roman" pitchFamily="18" charset="0"/>
              <a:cs typeface="Times New Roman" pitchFamily="18" charset="0"/>
            </a:rPr>
            <a:t>Θερμοκρασία 12ωρη πρόγνωση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33735</cdr:x>
      <cdr:y>0</cdr:y>
    </cdr:from>
    <cdr:to>
      <cdr:x>0.66265</cdr:x>
      <cdr:y>0.0701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133600" y="0"/>
          <a:ext cx="20574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600" b="1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rPr>
            <a:t>Κατακρήμνιση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39008</cdr:x>
      <cdr:y>0.0217</cdr:y>
    </cdr:from>
    <cdr:to>
      <cdr:x>0.70792</cdr:x>
      <cdr:y>0.1084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057400" y="76200"/>
          <a:ext cx="16764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pPr algn="ctr"/>
          <a:r>
            <a:rPr lang="el-GR" sz="14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3ωρη πρόγνωση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39008</cdr:x>
      <cdr:y>0.02204</cdr:y>
    </cdr:from>
    <cdr:to>
      <cdr:x>0.70792</cdr:x>
      <cdr:y>0.1102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057400" y="76200"/>
          <a:ext cx="16764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400" b="1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rPr>
            <a:t>6ωρη πρόγνωση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39321</cdr:x>
      <cdr:y>0.02367</cdr:y>
    </cdr:from>
    <cdr:to>
      <cdr:x>0.71105</cdr:x>
      <cdr:y>0.1104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073910" y="83128"/>
          <a:ext cx="16764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l-GR" sz="1400" b="1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rPr>
            <a:t>12ωρη πρόγνωση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2268</cdr:x>
      <cdr:y>0.01639</cdr:y>
    </cdr:from>
    <cdr:to>
      <cdr:x>0.43632</cdr:x>
      <cdr:y>0.1558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2A90A2D3-0B05-4D91-957C-51EE0854BC2D}"/>
            </a:ext>
          </a:extLst>
        </cdr:cNvPr>
        <cdr:cNvSpPr txBox="1"/>
      </cdr:nvSpPr>
      <cdr:spPr>
        <a:xfrm xmlns:a="http://schemas.openxmlformats.org/drawingml/2006/main">
          <a:off x="1676400" y="76200"/>
          <a:ext cx="1548646" cy="6484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l-GR" sz="14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Θερμοκρασία 3ωρη πρόγνωση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23368</cdr:x>
      <cdr:y>0.02688</cdr:y>
    </cdr:from>
    <cdr:to>
      <cdr:x>0.4432</cdr:x>
      <cdr:y>0.16413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BC06A8A-AEEE-4370-8040-4144671CA981}"/>
            </a:ext>
          </a:extLst>
        </cdr:cNvPr>
        <cdr:cNvSpPr txBox="1"/>
      </cdr:nvSpPr>
      <cdr:spPr>
        <a:xfrm xmlns:a="http://schemas.openxmlformats.org/drawingml/2006/main">
          <a:off x="1727200" y="127000"/>
          <a:ext cx="1548646" cy="648424"/>
        </a:xfrm>
        <a:prstGeom xmlns:a="http://schemas.openxmlformats.org/drawingml/2006/main" prst="rect">
          <a:avLst/>
        </a:prstGeom>
        <a:ln xmlns:a="http://schemas.openxmlformats.org/drawingml/2006/main">
          <a:noFill/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l-GR" sz="1400" b="1" dirty="0">
              <a:solidFill>
                <a:srgbClr val="0000FF"/>
              </a:solidFill>
              <a:latin typeface="Times New Roman" pitchFamily="18" charset="0"/>
              <a:cs typeface="Times New Roman" pitchFamily="18" charset="0"/>
            </a:rPr>
            <a:t>Θερμοκρασία 12ωρη πρόγνωση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20947</cdr:x>
      <cdr:y>0.04173</cdr:y>
    </cdr:from>
    <cdr:to>
      <cdr:x>0.46939</cdr:x>
      <cdr:y>0.14952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FA553309-DA71-4A45-9895-2F725F8CD17B}"/>
            </a:ext>
          </a:extLst>
        </cdr:cNvPr>
        <cdr:cNvSpPr txBox="1"/>
      </cdr:nvSpPr>
      <cdr:spPr>
        <a:xfrm xmlns:a="http://schemas.openxmlformats.org/drawingml/2006/main">
          <a:off x="1564262" y="193949"/>
          <a:ext cx="1940937" cy="5010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l-GR" sz="14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Ταχύτητα ανέμου 3ωρη πρόγνωση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φαλίδας 1">
            <a:extLst>
              <a:ext uri="{FF2B5EF4-FFF2-40B4-BE49-F238E27FC236}">
                <a16:creationId xmlns:a16="http://schemas.microsoft.com/office/drawing/2014/main" id="{358496AD-6A3C-49E2-9B7B-31DF6EEAA8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l-GR"/>
          </a:p>
        </p:txBody>
      </p:sp>
      <p:sp>
        <p:nvSpPr>
          <p:cNvPr id="3" name="Θέση ημερομηνίας 2">
            <a:extLst>
              <a:ext uri="{FF2B5EF4-FFF2-40B4-BE49-F238E27FC236}">
                <a16:creationId xmlns:a16="http://schemas.microsoft.com/office/drawing/2014/main" id="{1DE37F0D-6355-4E26-BB73-ED0B60A90DC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0E6B6A9A-C1BB-4970-8065-9779DBCA436F}" type="datetime1">
              <a:rPr lang="en-US" smtClean="0"/>
              <a:pPr/>
              <a:t>11/6/2017</a:t>
            </a:fld>
            <a:endParaRPr lang="el-GR"/>
          </a:p>
        </p:txBody>
      </p:sp>
      <p:sp>
        <p:nvSpPr>
          <p:cNvPr id="4" name="Θέση υποσέλιδου 3">
            <a:extLst>
              <a:ext uri="{FF2B5EF4-FFF2-40B4-BE49-F238E27FC236}">
                <a16:creationId xmlns:a16="http://schemas.microsoft.com/office/drawing/2014/main" id="{84B3519D-2ED5-4865-9541-0671BB3BBA8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l-GR"/>
          </a:p>
        </p:txBody>
      </p:sp>
      <p:sp>
        <p:nvSpPr>
          <p:cNvPr id="5" name="Θέση αριθμού διαφάνειας 4">
            <a:extLst>
              <a:ext uri="{FF2B5EF4-FFF2-40B4-BE49-F238E27FC236}">
                <a16:creationId xmlns:a16="http://schemas.microsoft.com/office/drawing/2014/main" id="{4F8BD7D2-A12C-48B2-B5CD-E556E1F854C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1B60080B-9856-4E64-AC81-7EF0BB55BB65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09128419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FC64C264-7BB1-4E2D-905F-A23E4206B3A5}" type="datetime1">
              <a:rPr lang="en-US" smtClean="0"/>
              <a:pPr/>
              <a:t>11/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F3B1EA56-B4DC-4E9E-B8BD-1E67F533CCC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33020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93144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854287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0890462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8580193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91543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991207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274786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2327855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60260752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6415871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7071257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1423096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0101418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197651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95499688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843586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2435911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86022337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32172181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1311276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3400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4473576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372094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032942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0509675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8660962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38491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59478-ACA2-41E9-8D80-366DA795F254}" type="datetime1">
              <a:rPr lang="en-US" smtClean="0"/>
              <a:pPr/>
              <a:t>11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E5CC6-239F-4F5D-B09D-B47930DCE2E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7595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70D659-9A0A-47F3-A379-2C5C6E66A73A}" type="datetime1">
              <a:rPr lang="en-US" smtClean="0"/>
              <a:pPr/>
              <a:t>11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E5CC6-239F-4F5D-B09D-B47930DCE2E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2060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299DE-3DA4-45AE-9487-77643CBDCC96}" type="datetime1">
              <a:rPr lang="en-US" smtClean="0"/>
              <a:pPr/>
              <a:t>11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E5CC6-239F-4F5D-B09D-B47930DCE2E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0690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A752B4-5FE2-4A6A-9CED-F148FB4B8B63}" type="datetime1">
              <a:rPr lang="en-US" smtClean="0"/>
              <a:pPr/>
              <a:t>11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E5CC6-239F-4F5D-B09D-B47930DCE2E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1191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1BF6E-D19B-4641-8CF6-FB7491F89308}" type="datetime1">
              <a:rPr lang="en-US" smtClean="0"/>
              <a:pPr/>
              <a:t>11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E5CC6-239F-4F5D-B09D-B47930DCE2E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5728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A2349-309B-452E-BF71-5EAE61CA9344}" type="datetime1">
              <a:rPr lang="en-US" smtClean="0"/>
              <a:pPr/>
              <a:t>11/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E5CC6-239F-4F5D-B09D-B47930DCE2E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6027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3F00F-1F72-4E08-AC1D-63D0A5A0A231}" type="datetime1">
              <a:rPr lang="en-US" smtClean="0"/>
              <a:pPr/>
              <a:t>11/6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E5CC6-239F-4F5D-B09D-B47930DCE2E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5374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7CCFB-DD08-4FE4-AE1C-FE2115E2128A}" type="datetime1">
              <a:rPr lang="en-US" smtClean="0"/>
              <a:pPr/>
              <a:t>11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E5CC6-239F-4F5D-B09D-B47930DCE2E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028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99926-35F2-4FD1-A6A9-538407A42283}" type="datetime1">
              <a:rPr lang="en-US" smtClean="0"/>
              <a:pPr/>
              <a:t>11/6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E5CC6-239F-4F5D-B09D-B47930DCE2E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3171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4B655-1865-4421-A234-57CEB953D6ED}" type="datetime1">
              <a:rPr lang="en-US" smtClean="0"/>
              <a:pPr/>
              <a:t>11/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E5CC6-239F-4F5D-B09D-B47930DCE2E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6386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6CE7AE-C999-4A25-A413-40949397A14E}" type="datetime1">
              <a:rPr lang="en-US" smtClean="0"/>
              <a:pPr/>
              <a:t>11/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E5CC6-239F-4F5D-B09D-B47930DCE2E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486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5D5AA2-706D-496A-8D0A-B20405601A08}" type="datetime1">
              <a:rPr lang="en-US" smtClean="0"/>
              <a:pPr/>
              <a:t>11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1E5CC6-239F-4F5D-B09D-B47930DCE2E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172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2.wmf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wmf"/><Relationship Id="rId13" Type="http://schemas.openxmlformats.org/officeDocument/2006/relationships/oleObject" Target="../embeddings/oleObject10.bin"/><Relationship Id="rId18" Type="http://schemas.openxmlformats.org/officeDocument/2006/relationships/image" Target="../media/image20.wmf"/><Relationship Id="rId3" Type="http://schemas.openxmlformats.org/officeDocument/2006/relationships/oleObject" Target="../embeddings/oleObject5.bin"/><Relationship Id="rId7" Type="http://schemas.openxmlformats.org/officeDocument/2006/relationships/oleObject" Target="../embeddings/oleObject7.bin"/><Relationship Id="rId12" Type="http://schemas.openxmlformats.org/officeDocument/2006/relationships/image" Target="../media/image17.wmf"/><Relationship Id="rId17" Type="http://schemas.openxmlformats.org/officeDocument/2006/relationships/oleObject" Target="../embeddings/oleObject12.bin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9.wmf"/><Relationship Id="rId20" Type="http://schemas.openxmlformats.org/officeDocument/2006/relationships/image" Target="../media/image21.wmf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wmf"/><Relationship Id="rId11" Type="http://schemas.openxmlformats.org/officeDocument/2006/relationships/oleObject" Target="../embeddings/oleObject9.bin"/><Relationship Id="rId5" Type="http://schemas.openxmlformats.org/officeDocument/2006/relationships/oleObject" Target="../embeddings/oleObject6.bin"/><Relationship Id="rId15" Type="http://schemas.openxmlformats.org/officeDocument/2006/relationships/oleObject" Target="../embeddings/oleObject11.bin"/><Relationship Id="rId10" Type="http://schemas.openxmlformats.org/officeDocument/2006/relationships/image" Target="../media/image16.wmf"/><Relationship Id="rId19" Type="http://schemas.openxmlformats.org/officeDocument/2006/relationships/oleObject" Target="../embeddings/oleObject13.bin"/><Relationship Id="rId4" Type="http://schemas.openxmlformats.org/officeDocument/2006/relationships/image" Target="../media/image13.wmf"/><Relationship Id="rId9" Type="http://schemas.openxmlformats.org/officeDocument/2006/relationships/oleObject" Target="../embeddings/oleObject8.bin"/><Relationship Id="rId14" Type="http://schemas.openxmlformats.org/officeDocument/2006/relationships/image" Target="../media/image18.w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w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15.bin"/><Relationship Id="rId2" Type="http://schemas.openxmlformats.org/officeDocument/2006/relationships/tags" Target="../tags/tag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7" Type="http://schemas.openxmlformats.org/officeDocument/2006/relationships/chart" Target="../charts/chart15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chart" Target="../charts/char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9.xml"/><Relationship Id="rId4" Type="http://schemas.openxmlformats.org/officeDocument/2006/relationships/chart" Target="../charts/char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3.xml"/><Relationship Id="rId5" Type="http://schemas.openxmlformats.org/officeDocument/2006/relationships/chart" Target="../charts/chart22.xml"/><Relationship Id="rId4" Type="http://schemas.openxmlformats.org/officeDocument/2006/relationships/chart" Target="../charts/chart2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22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6.bin"/><Relationship Id="rId5" Type="http://schemas.openxmlformats.org/officeDocument/2006/relationships/chart" Target="../charts/chart25.xml"/><Relationship Id="rId4" Type="http://schemas.openxmlformats.org/officeDocument/2006/relationships/chart" Target="../charts/chart2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3.png"/><Relationship Id="rId2" Type="http://schemas.openxmlformats.org/officeDocument/2006/relationships/tags" Target="../tags/tag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2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image" Target="../media/image4.emf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image" Target="../media/image5.emf"/><Relationship Id="rId9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E0B12A2C-522B-45E5-B05A-DBEDBDD5C1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41984" y="225036"/>
            <a:ext cx="6573416" cy="1470025"/>
          </a:xfrm>
        </p:spPr>
        <p:txBody>
          <a:bodyPr>
            <a:noAutofit/>
          </a:bodyPr>
          <a:lstStyle/>
          <a:p>
            <a:pPr algn="l"/>
            <a:r>
              <a:rPr lang="el-GR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ΕΘΝΙΚΟ ΜΕΤΣΟΒΙΟ ΠΟΛΥΤΕΧΝΕΙΟ</a:t>
            </a:r>
            <a:br>
              <a:rPr lang="el-GR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l-GR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ΣΧΟΛΗ ΠΟΛΙΤΙΚΩΝ ΜΗΧΑΝΙΚΩΝ</a:t>
            </a:r>
            <a:br>
              <a:rPr lang="el-GR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l-GR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ΤΟΜΕΑΣ ΥΔΑΤΙΚΩΝ ΠΟΡΩΝ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&amp;</a:t>
            </a:r>
            <a:r>
              <a:rPr lang="el-GR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ΠΕΡΙΒΑΛΛΟΝΤΟΣ</a:t>
            </a:r>
          </a:p>
        </p:txBody>
      </p:sp>
      <p:sp>
        <p:nvSpPr>
          <p:cNvPr id="3" name="Υπότιτλος 2">
            <a:extLst>
              <a:ext uri="{FF2B5EF4-FFF2-40B4-BE49-F238E27FC236}">
                <a16:creationId xmlns:a16="http://schemas.microsoft.com/office/drawing/2014/main" id="{4549E3D1-953B-4C4A-812B-9EABFB0502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2133600"/>
            <a:ext cx="8153400" cy="4419600"/>
          </a:xfrm>
        </p:spPr>
        <p:txBody>
          <a:bodyPr>
            <a:noAutofit/>
          </a:bodyPr>
          <a:lstStyle/>
          <a:p>
            <a:pPr algn="l"/>
            <a:r>
              <a:rPr lang="el-GR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Διπλωματική Εργασία</a:t>
            </a:r>
            <a:r>
              <a:rPr lang="en-US" sz="24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l"/>
            <a:endParaRPr lang="el-GR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l-GR" sz="2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Βελτίωση βραχυπρόθεσμης τοπικής μετεωρολογικής πρόγνωσης με χρήση δεδομένων τοπικής παρατήρησης»</a:t>
            </a:r>
          </a:p>
          <a:p>
            <a:pPr algn="l"/>
            <a:endParaRPr lang="el-GR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l-GR" sz="2400" b="1" dirty="0" err="1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Καραλή</a:t>
            </a:r>
            <a:r>
              <a:rPr lang="el-GR" sz="2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Σοφία</a:t>
            </a:r>
          </a:p>
          <a:p>
            <a:endParaRPr lang="el-GR" sz="28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l-GR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Υπεύθυνος Καθηγητής: Δ. Κουτσογιάννης, Καθηγητής Ε.Μ.Π.</a:t>
            </a:r>
          </a:p>
          <a:p>
            <a:endParaRPr lang="el-GR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el-GR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Αθήνα, Νοέμβριος 2017</a:t>
            </a:r>
          </a:p>
          <a:p>
            <a:endParaRPr lang="el-GR" sz="28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endParaRPr lang="el-GR" sz="24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Εικόνα 5">
            <a:extLst>
              <a:ext uri="{FF2B5EF4-FFF2-40B4-BE49-F238E27FC236}">
                <a16:creationId xmlns:a16="http://schemas.microsoft.com/office/drawing/2014/main" id="{74FEEF66-F1A7-4A3A-A70D-A3698A9A4B8C}"/>
              </a:ext>
            </a:extLst>
          </p:cNvPr>
          <p:cNvPicPr/>
          <p:nvPr/>
        </p:nvPicPr>
        <p:blipFill rotWithShape="1">
          <a:blip r:embed="rId3" cstate="print"/>
          <a:srcRect l="4078" t="5288" r="6218" b="1904"/>
          <a:stretch/>
        </p:blipFill>
        <p:spPr bwMode="auto">
          <a:xfrm>
            <a:off x="457200" y="152400"/>
            <a:ext cx="1676400" cy="1676400"/>
          </a:xfrm>
          <a:prstGeom prst="ellipse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9391884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51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30162"/>
            <a:ext cx="8229600" cy="687084"/>
          </a:xfrm>
        </p:spPr>
        <p:txBody>
          <a:bodyPr>
            <a:normAutofit/>
          </a:bodyPr>
          <a:lstStyle/>
          <a:p>
            <a:pPr fontAlgn="b"/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Μεθοδολογία</a:t>
            </a:r>
            <a:endParaRPr lang="en-US" sz="3600" b="1" dirty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5591190" y="2324768"/>
            <a:ext cx="3540369" cy="1971908"/>
            <a:chOff x="1066800" y="2693267"/>
            <a:chExt cx="6781800" cy="3777314"/>
          </a:xfrm>
        </p:grpSpPr>
        <p:sp>
          <p:nvSpPr>
            <p:cNvPr id="19" name="Ellipse 98"/>
            <p:cNvSpPr/>
            <p:nvPr/>
          </p:nvSpPr>
          <p:spPr bwMode="auto">
            <a:xfrm>
              <a:off x="1066800" y="4572000"/>
              <a:ext cx="6781800" cy="1447800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chemeClr val="tx1">
                    <a:lumMod val="50000"/>
                    <a:lumOff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eaLnBrk="1" hangingPunct="1">
                <a:defRPr/>
              </a:pPr>
              <a:endParaRPr lang="en-US" sz="1800">
                <a:solidFill>
                  <a:srgbClr val="FFFFFF"/>
                </a:solidFill>
                <a:latin typeface="Calibri" charset="0"/>
              </a:endParaRPr>
            </a:p>
          </p:txBody>
        </p:sp>
        <p:grpSp>
          <p:nvGrpSpPr>
            <p:cNvPr id="20" name="Group 19"/>
            <p:cNvGrpSpPr/>
            <p:nvPr/>
          </p:nvGrpSpPr>
          <p:grpSpPr>
            <a:xfrm rot="120000">
              <a:off x="2045651" y="2693267"/>
              <a:ext cx="4800600" cy="3777314"/>
              <a:chOff x="2286000" y="1785286"/>
              <a:chExt cx="4800600" cy="3777314"/>
            </a:xfrm>
          </p:grpSpPr>
          <p:sp>
            <p:nvSpPr>
              <p:cNvPr id="21" name="Oval 20"/>
              <p:cNvSpPr/>
              <p:nvPr/>
            </p:nvSpPr>
            <p:spPr>
              <a:xfrm>
                <a:off x="2286000" y="1785286"/>
                <a:ext cx="4800600" cy="3777314"/>
              </a:xfrm>
              <a:prstGeom prst="ellipse">
                <a:avLst/>
              </a:prstGeom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isometricOffAxis1Top"/>
                <a:lightRig rig="threePt" dir="t"/>
              </a:scene3d>
              <a:sp3d>
                <a:bevelT w="19050" h="196850"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Oval 21"/>
              <p:cNvSpPr/>
              <p:nvPr/>
            </p:nvSpPr>
            <p:spPr>
              <a:xfrm>
                <a:off x="2733793" y="1980024"/>
                <a:ext cx="3776870" cy="2971801"/>
              </a:xfrm>
              <a:prstGeom prst="ellipse">
                <a:avLst/>
              </a:prstGeom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scene3d>
                <a:camera prst="isometricOffAxis1Top"/>
                <a:lightRig rig="threePt" dir="t"/>
              </a:scene3d>
              <a:sp3d>
                <a:bevelT w="19050" h="101600"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23" name="Picture 2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7872" y="1477246"/>
            <a:ext cx="1762383" cy="184135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8" name="Group 27"/>
          <p:cNvGrpSpPr/>
          <p:nvPr/>
        </p:nvGrpSpPr>
        <p:grpSpPr>
          <a:xfrm>
            <a:off x="5867399" y="3853789"/>
            <a:ext cx="3276601" cy="2775611"/>
            <a:chOff x="3257939" y="4143676"/>
            <a:chExt cx="2631270" cy="1592430"/>
          </a:xfrm>
        </p:grpSpPr>
        <p:sp>
          <p:nvSpPr>
            <p:cNvPr id="29" name="Title 1"/>
            <p:cNvSpPr txBox="1">
              <a:spLocks/>
            </p:cNvSpPr>
            <p:nvPr/>
          </p:nvSpPr>
          <p:spPr>
            <a:xfrm>
              <a:off x="3257939" y="4143676"/>
              <a:ext cx="2570078" cy="64355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97500"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4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fontAlgn="b"/>
              <a:r>
                <a:rPr lang="el-GR" sz="2500" b="1" dirty="0">
                  <a:solidFill>
                    <a:schemeClr val="accent1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Βήμα 1</a:t>
              </a:r>
              <a:br>
                <a:rPr lang="en-US" sz="3300" b="1" dirty="0">
                  <a:solidFill>
                    <a:schemeClr val="accent1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</a:br>
              <a:r>
                <a:rPr lang="el-GR" sz="2000" b="1" dirty="0">
                  <a:latin typeface="Times New Roman" pitchFamily="18" charset="0"/>
                  <a:cs typeface="Times New Roman" pitchFamily="18" charset="0"/>
                </a:rPr>
                <a:t>Επεξεργασία πρωτογενών δεδομένων</a:t>
              </a:r>
              <a:endParaRPr lang="en-US" sz="18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34" name="Title 1"/>
            <p:cNvSpPr txBox="1">
              <a:spLocks/>
            </p:cNvSpPr>
            <p:nvPr/>
          </p:nvSpPr>
          <p:spPr>
            <a:xfrm>
              <a:off x="3363062" y="4787225"/>
              <a:ext cx="2526147" cy="948881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t">
              <a:no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4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285750" indent="-285750" fontAlgn="b">
                <a:buFont typeface="Wingdings" panose="05000000000000000000" pitchFamily="2" charset="2"/>
                <a:buChar char="ü"/>
              </a:pPr>
              <a:r>
                <a:rPr lang="el-GR" sz="18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Ενοποίηση μονάδων μετεωρολογικών προβλέψεων και μετρήσεων</a:t>
              </a:r>
            </a:p>
            <a:p>
              <a:pPr marL="285750" indent="-285750" fontAlgn="b">
                <a:buFont typeface="Wingdings" panose="05000000000000000000" pitchFamily="2" charset="2"/>
                <a:buChar char="ü"/>
              </a:pPr>
              <a:r>
                <a:rPr lang="el-GR" sz="18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Έλεγχος τιμών μέτρησης</a:t>
              </a:r>
            </a:p>
            <a:p>
              <a:pPr marL="285750" indent="-285750" fontAlgn="b">
                <a:buFont typeface="Wingdings" panose="05000000000000000000" pitchFamily="2" charset="2"/>
                <a:buChar char="ü"/>
              </a:pPr>
              <a:r>
                <a:rPr lang="el-GR" sz="18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Τυποποίηση</a:t>
              </a:r>
            </a:p>
          </p:txBody>
        </p:sp>
      </p:grpSp>
      <p:grpSp>
        <p:nvGrpSpPr>
          <p:cNvPr id="7" name="Ομάδα 6">
            <a:extLst>
              <a:ext uri="{FF2B5EF4-FFF2-40B4-BE49-F238E27FC236}">
                <a16:creationId xmlns:a16="http://schemas.microsoft.com/office/drawing/2014/main" id="{E6127A8C-3471-4FE9-BEFD-4B038A08DD78}"/>
              </a:ext>
            </a:extLst>
          </p:cNvPr>
          <p:cNvGrpSpPr/>
          <p:nvPr/>
        </p:nvGrpSpPr>
        <p:grpSpPr>
          <a:xfrm>
            <a:off x="2913375" y="1569806"/>
            <a:ext cx="3540369" cy="1971908"/>
            <a:chOff x="2913375" y="1569806"/>
            <a:chExt cx="3540369" cy="1971908"/>
          </a:xfrm>
        </p:grpSpPr>
        <p:grpSp>
          <p:nvGrpSpPr>
            <p:cNvPr id="13" name="Group 12"/>
            <p:cNvGrpSpPr/>
            <p:nvPr/>
          </p:nvGrpSpPr>
          <p:grpSpPr>
            <a:xfrm>
              <a:off x="2913375" y="1569806"/>
              <a:ext cx="3540369" cy="1971908"/>
              <a:chOff x="1066800" y="2693267"/>
              <a:chExt cx="6781800" cy="3777314"/>
            </a:xfrm>
          </p:grpSpPr>
          <p:sp>
            <p:nvSpPr>
              <p:cNvPr id="14" name="Ellipse 98"/>
              <p:cNvSpPr/>
              <p:nvPr/>
            </p:nvSpPr>
            <p:spPr bwMode="auto">
              <a:xfrm>
                <a:off x="1066800" y="4572000"/>
                <a:ext cx="6781800" cy="1447800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FFFFF">
                      <a:alpha val="0"/>
                    </a:srgbClr>
                  </a:gs>
                  <a:gs pos="0">
                    <a:schemeClr val="tx1">
                      <a:lumMod val="50000"/>
                      <a:lumOff val="5000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37931725" indent="-37474525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eaLnBrk="1" hangingPunct="1">
                  <a:defRPr/>
                </a:pPr>
                <a:endParaRPr lang="en-US" sz="1800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grpSp>
            <p:nvGrpSpPr>
              <p:cNvPr id="15" name="Group 14"/>
              <p:cNvGrpSpPr/>
              <p:nvPr/>
            </p:nvGrpSpPr>
            <p:grpSpPr>
              <a:xfrm rot="120000">
                <a:off x="2045651" y="2693267"/>
                <a:ext cx="4800600" cy="3777314"/>
                <a:chOff x="2286000" y="1785286"/>
                <a:chExt cx="4800600" cy="3777314"/>
              </a:xfrm>
            </p:grpSpPr>
            <p:sp>
              <p:nvSpPr>
                <p:cNvPr id="16" name="Oval 15"/>
                <p:cNvSpPr/>
                <p:nvPr/>
              </p:nvSpPr>
              <p:spPr>
                <a:xfrm>
                  <a:off x="2286000" y="1785286"/>
                  <a:ext cx="4800600" cy="3777314"/>
                </a:xfrm>
                <a:prstGeom prst="ellipse">
                  <a:avLst/>
                </a:prstGeom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scene3d>
                  <a:camera prst="isometricOffAxis1Top"/>
                  <a:lightRig rig="threePt" dir="t"/>
                </a:scene3d>
                <a:sp3d>
                  <a:bevelT w="19050" h="196850"/>
                </a:sp3d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" name="Oval 16"/>
                <p:cNvSpPr/>
                <p:nvPr/>
              </p:nvSpPr>
              <p:spPr>
                <a:xfrm>
                  <a:off x="2733792" y="1980024"/>
                  <a:ext cx="3776870" cy="2971801"/>
                </a:xfrm>
                <a:prstGeom prst="ellipse">
                  <a:avLst/>
                </a:prstGeom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scene3d>
                  <a:camera prst="isometricOffAxis1Top"/>
                  <a:lightRig rig="threePt" dir="t"/>
                </a:scene3d>
                <a:sp3d>
                  <a:bevelT w="19050" h="101600"/>
                </a:sp3d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</p:grpSp>
        <p:sp>
          <p:nvSpPr>
            <p:cNvPr id="6" name="Left Arrow 5"/>
            <p:cNvSpPr/>
            <p:nvPr/>
          </p:nvSpPr>
          <p:spPr>
            <a:xfrm>
              <a:off x="3863359" y="1868839"/>
              <a:ext cx="1460476" cy="1073391"/>
            </a:xfrm>
            <a:prstGeom prst="leftArrow">
              <a:avLst/>
            </a:prstGeom>
            <a:solidFill>
              <a:schemeClr val="bg1">
                <a:alpha val="46000"/>
              </a:schemeClr>
            </a:solidFill>
            <a:ln>
              <a:noFill/>
            </a:ln>
            <a:scene3d>
              <a:camera prst="isometricOffAxis2To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" name="Ομάδα 7">
            <a:extLst>
              <a:ext uri="{FF2B5EF4-FFF2-40B4-BE49-F238E27FC236}">
                <a16:creationId xmlns:a16="http://schemas.microsoft.com/office/drawing/2014/main" id="{D4E67D9E-E358-4904-9C7E-C9AD7DB4E738}"/>
              </a:ext>
            </a:extLst>
          </p:cNvPr>
          <p:cNvGrpSpPr/>
          <p:nvPr/>
        </p:nvGrpSpPr>
        <p:grpSpPr>
          <a:xfrm>
            <a:off x="88821" y="966091"/>
            <a:ext cx="3540369" cy="1971908"/>
            <a:chOff x="88821" y="966091"/>
            <a:chExt cx="3540369" cy="1971908"/>
          </a:xfrm>
        </p:grpSpPr>
        <p:grpSp>
          <p:nvGrpSpPr>
            <p:cNvPr id="4" name="Group 3"/>
            <p:cNvGrpSpPr/>
            <p:nvPr/>
          </p:nvGrpSpPr>
          <p:grpSpPr>
            <a:xfrm>
              <a:off x="88821" y="966091"/>
              <a:ext cx="3540369" cy="1971908"/>
              <a:chOff x="1066800" y="2693267"/>
              <a:chExt cx="6781800" cy="3777314"/>
            </a:xfrm>
          </p:grpSpPr>
          <p:sp>
            <p:nvSpPr>
              <p:cNvPr id="30" name="Ellipse 98"/>
              <p:cNvSpPr/>
              <p:nvPr/>
            </p:nvSpPr>
            <p:spPr bwMode="auto">
              <a:xfrm>
                <a:off x="1066800" y="4572000"/>
                <a:ext cx="6781800" cy="1447800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FFFFF">
                      <a:alpha val="0"/>
                    </a:srgbClr>
                  </a:gs>
                  <a:gs pos="0">
                    <a:schemeClr val="tx1">
                      <a:lumMod val="50000"/>
                      <a:lumOff val="5000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37931725" indent="-37474525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eaLnBrk="1" hangingPunct="1">
                  <a:defRPr/>
                </a:pPr>
                <a:endParaRPr lang="en-US" sz="1800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grpSp>
            <p:nvGrpSpPr>
              <p:cNvPr id="31" name="Group 30"/>
              <p:cNvGrpSpPr/>
              <p:nvPr/>
            </p:nvGrpSpPr>
            <p:grpSpPr>
              <a:xfrm rot="120000">
                <a:off x="2045651" y="2693267"/>
                <a:ext cx="4800600" cy="3777314"/>
                <a:chOff x="2286000" y="1785286"/>
                <a:chExt cx="4800600" cy="3777314"/>
              </a:xfrm>
            </p:grpSpPr>
            <p:sp>
              <p:nvSpPr>
                <p:cNvPr id="32" name="Oval 31"/>
                <p:cNvSpPr/>
                <p:nvPr/>
              </p:nvSpPr>
              <p:spPr>
                <a:xfrm>
                  <a:off x="2286000" y="1785286"/>
                  <a:ext cx="4800600" cy="3777314"/>
                </a:xfrm>
                <a:prstGeom prst="ellipse">
                  <a:avLst/>
                </a:prstGeom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scene3d>
                  <a:camera prst="isometricOffAxis1Top"/>
                  <a:lightRig rig="threePt" dir="t"/>
                </a:scene3d>
                <a:sp3d>
                  <a:bevelT w="19050" h="196850"/>
                </a:sp3d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3" name="Oval 32"/>
                <p:cNvSpPr/>
                <p:nvPr/>
              </p:nvSpPr>
              <p:spPr>
                <a:xfrm>
                  <a:off x="2733793" y="1980024"/>
                  <a:ext cx="3776870" cy="2971801"/>
                </a:xfrm>
                <a:prstGeom prst="ellipse">
                  <a:avLst/>
                </a:prstGeom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scene3d>
                  <a:camera prst="isometricOffAxis1Top"/>
                  <a:lightRig rig="threePt" dir="t"/>
                </a:scene3d>
                <a:sp3d>
                  <a:bevelT w="19050" h="101600"/>
                </a:sp3d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38" name="Left Arrow 37"/>
            <p:cNvSpPr/>
            <p:nvPr/>
          </p:nvSpPr>
          <p:spPr>
            <a:xfrm>
              <a:off x="1072167" y="1270891"/>
              <a:ext cx="1460476" cy="1073391"/>
            </a:xfrm>
            <a:prstGeom prst="leftArrow">
              <a:avLst/>
            </a:prstGeom>
            <a:solidFill>
              <a:schemeClr val="bg1">
                <a:alpha val="46000"/>
              </a:schemeClr>
            </a:solidFill>
            <a:ln>
              <a:noFill/>
            </a:ln>
            <a:scene3d>
              <a:camera prst="isometricOffAxis2Top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3124200" y="3252089"/>
            <a:ext cx="2811759" cy="2895602"/>
            <a:chOff x="3207140" y="4297754"/>
            <a:chExt cx="2551425" cy="1340457"/>
          </a:xfrm>
        </p:grpSpPr>
        <p:sp>
          <p:nvSpPr>
            <p:cNvPr id="40" name="Title 1"/>
            <p:cNvSpPr txBox="1">
              <a:spLocks/>
            </p:cNvSpPr>
            <p:nvPr/>
          </p:nvSpPr>
          <p:spPr>
            <a:xfrm>
              <a:off x="3207140" y="4297754"/>
              <a:ext cx="2551425" cy="529127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4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fontAlgn="b"/>
              <a:r>
                <a:rPr lang="el-GR" sz="2400" b="1" dirty="0">
                  <a:solidFill>
                    <a:schemeClr val="accent1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Βήμα 2</a:t>
              </a:r>
            </a:p>
            <a:p>
              <a:pPr algn="ctr" fontAlgn="b"/>
              <a:r>
                <a:rPr lang="el-GR" sz="2000" b="1" dirty="0">
                  <a:latin typeface="Times New Roman" pitchFamily="18" charset="0"/>
                  <a:cs typeface="Times New Roman" pitchFamily="18" charset="0"/>
                </a:rPr>
                <a:t>Εφαρμογή των μεθόδων πρόγνωσης</a:t>
              </a:r>
              <a:br>
                <a:rPr lang="en-US" sz="2400" b="1" dirty="0">
                  <a:solidFill>
                    <a:schemeClr val="accent1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</a:br>
              <a:endParaRPr lang="en-US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1" name="Title 1"/>
            <p:cNvSpPr txBox="1">
              <a:spLocks/>
            </p:cNvSpPr>
            <p:nvPr/>
          </p:nvSpPr>
          <p:spPr>
            <a:xfrm>
              <a:off x="3291802" y="4721058"/>
              <a:ext cx="2310698" cy="917153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t">
              <a:normAutofit fontScale="97500" lnSpcReduction="10000"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4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285750" indent="-285750" fontAlgn="b">
                <a:buFont typeface="Wingdings" panose="05000000000000000000" pitchFamily="2" charset="2"/>
                <a:buChar char="ü"/>
              </a:pPr>
              <a:r>
                <a:rPr lang="el-GR" sz="18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Μέθοδοι που χρησιμοποιούν μόνο μετρήσεις</a:t>
              </a:r>
            </a:p>
            <a:p>
              <a:pPr marL="285750" indent="-285750" fontAlgn="b">
                <a:buFont typeface="Wingdings" panose="05000000000000000000" pitchFamily="2" charset="2"/>
                <a:buChar char="ü"/>
              </a:pPr>
              <a:r>
                <a:rPr lang="el-GR" sz="18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Μέθοδοι συνδυασμού μετεωρολογικής πρόβλεψης και</a:t>
              </a:r>
              <a:r>
                <a:rPr lang="en-US" sz="18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l-GR" sz="18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μετρήσεων</a:t>
              </a:r>
              <a:endParaRPr lang="en-US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88253" y="2337691"/>
            <a:ext cx="3188347" cy="2586803"/>
            <a:chOff x="3086156" y="4191928"/>
            <a:chExt cx="2748488" cy="1224720"/>
          </a:xfrm>
        </p:grpSpPr>
        <p:sp>
          <p:nvSpPr>
            <p:cNvPr id="43" name="Title 1"/>
            <p:cNvSpPr txBox="1">
              <a:spLocks/>
            </p:cNvSpPr>
            <p:nvPr/>
          </p:nvSpPr>
          <p:spPr>
            <a:xfrm>
              <a:off x="3086156" y="4191928"/>
              <a:ext cx="2748488" cy="835464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4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fontAlgn="b"/>
              <a:r>
                <a:rPr lang="el-GR" sz="2400" b="1" dirty="0">
                  <a:solidFill>
                    <a:schemeClr val="accent1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  <a:t>Βήμα 3</a:t>
              </a:r>
              <a:br>
                <a:rPr lang="el-GR" sz="2400" b="1" dirty="0">
                  <a:solidFill>
                    <a:schemeClr val="accent1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</a:br>
              <a:r>
                <a:rPr lang="el-GR" sz="2400" b="1" dirty="0"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l-GR" sz="2000" b="1" dirty="0">
                  <a:latin typeface="Times New Roman" pitchFamily="18" charset="0"/>
                  <a:cs typeface="Times New Roman" pitchFamily="18" charset="0"/>
                </a:rPr>
                <a:t>Διεξαγωγή αποτελεσμάτων και συμπεράσματα</a:t>
              </a:r>
              <a:br>
                <a:rPr lang="en-US" sz="2400" b="1" dirty="0">
                  <a:solidFill>
                    <a:schemeClr val="accent1">
                      <a:lumMod val="50000"/>
                    </a:schemeClr>
                  </a:solidFill>
                  <a:latin typeface="Times New Roman" pitchFamily="18" charset="0"/>
                  <a:cs typeface="Times New Roman" pitchFamily="18" charset="0"/>
                </a:rPr>
              </a:br>
              <a:endParaRPr lang="en-US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4" name="Title 1"/>
            <p:cNvSpPr txBox="1">
              <a:spLocks/>
            </p:cNvSpPr>
            <p:nvPr/>
          </p:nvSpPr>
          <p:spPr>
            <a:xfrm>
              <a:off x="3283218" y="4805233"/>
              <a:ext cx="2386185" cy="611415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t">
              <a:no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40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285750" indent="-285750" fontAlgn="b">
                <a:buFont typeface="Wingdings" panose="05000000000000000000" pitchFamily="2" charset="2"/>
                <a:buChar char="ü"/>
              </a:pPr>
              <a:r>
                <a:rPr lang="el-GR" sz="18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Συντελεστής απόδοσης Ν</a:t>
              </a:r>
              <a:r>
                <a:rPr lang="en-US" sz="18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ash-Sutcliffe</a:t>
              </a:r>
            </a:p>
            <a:p>
              <a:pPr marL="285750" indent="-285750" fontAlgn="b">
                <a:buFont typeface="Wingdings" panose="05000000000000000000" pitchFamily="2" charset="2"/>
                <a:buChar char="ü"/>
              </a:pPr>
              <a:r>
                <a:rPr lang="el-GR" sz="18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Συντελεστές βαρύτητας των μεθόδων</a:t>
              </a:r>
              <a:r>
                <a:rPr lang="en-US" sz="18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l-GR" sz="1800" dirty="0">
                  <a:solidFill>
                    <a:schemeClr val="tx1"/>
                  </a:solidFill>
                  <a:latin typeface="Times New Roman" pitchFamily="18" charset="0"/>
                  <a:cs typeface="Times New Roman" pitchFamily="18" charset="0"/>
                </a:rPr>
                <a:t>πρόγνωσης</a:t>
              </a:r>
            </a:p>
            <a:p>
              <a:pPr marL="285750" indent="-285750" fontAlgn="b">
                <a:buFont typeface="Wingdings" panose="05000000000000000000" pitchFamily="2" charset="2"/>
                <a:buChar char="ü"/>
              </a:pPr>
              <a:endParaRPr lang="en-US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marL="285750" indent="-285750" fontAlgn="b">
                <a:buFont typeface="Wingdings" panose="05000000000000000000" pitchFamily="2" charset="2"/>
                <a:buChar char="ü"/>
              </a:pPr>
              <a:endParaRPr lang="en-US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marL="285750" indent="-285750" fontAlgn="b">
                <a:buFont typeface="Wingdings" panose="05000000000000000000" pitchFamily="2" charset="2"/>
                <a:buChar char="ü"/>
              </a:pPr>
              <a:endParaRPr lang="en-US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2956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Θέση περιεχομένου 3">
            <a:extLst>
              <a:ext uri="{FF2B5EF4-FFF2-40B4-BE49-F238E27FC236}">
                <a16:creationId xmlns:a16="http://schemas.microsoft.com/office/drawing/2014/main" id="{F926ECD0-6105-48B9-8FE3-E5E1733F9A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50606448"/>
              </p:ext>
            </p:extLst>
          </p:nvPr>
        </p:nvGraphicFramePr>
        <p:xfrm>
          <a:off x="66092" y="878840"/>
          <a:ext cx="6868108" cy="239776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296108">
                  <a:extLst>
                    <a:ext uri="{9D8B030D-6E8A-4147-A177-3AD203B41FA5}">
                      <a16:colId xmlns:a16="http://schemas.microsoft.com/office/drawing/2014/main" val="1872486502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828350616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886802303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002475113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Περιοχή σταθμού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Πρώτο έτο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Τελευταίο έτος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Σύνολο ετών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Μορφή</a:t>
                      </a:r>
                      <a:r>
                        <a:rPr lang="el-GR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δεδομένων (</a:t>
                      </a:r>
                      <a:r>
                        <a:rPr lang="el-GR" sz="1600" baseline="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χρονοσειράς</a:t>
                      </a:r>
                      <a:r>
                        <a:rPr lang="el-GR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367349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Ελληνικό Αττικής (ΕΜΥ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ωρη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47858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Αττική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ωριαία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210390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Λονδίνο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8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ωριαία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774426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Μελβούρνη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ωριαία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286764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Νέα Υόρκη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ωριαία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2540626"/>
                  </a:ext>
                </a:extLst>
              </a:tr>
            </a:tbl>
          </a:graphicData>
        </a:graphic>
      </p:graphicFrame>
      <p:graphicFrame>
        <p:nvGraphicFramePr>
          <p:cNvPr id="6" name="Πίνακας 5">
            <a:extLst>
              <a:ext uri="{FF2B5EF4-FFF2-40B4-BE49-F238E27FC236}">
                <a16:creationId xmlns:a16="http://schemas.microsoft.com/office/drawing/2014/main" id="{4305B034-9889-4AB3-92E3-48E0F2CC90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3334497"/>
              </p:ext>
            </p:extLst>
          </p:nvPr>
        </p:nvGraphicFramePr>
        <p:xfrm>
          <a:off x="76200" y="4257396"/>
          <a:ext cx="7567905" cy="2524404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2057400">
                  <a:extLst>
                    <a:ext uri="{9D8B030D-6E8A-4147-A177-3AD203B41FA5}">
                      <a16:colId xmlns:a16="http://schemas.microsoft.com/office/drawing/2014/main" val="1569928559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3570993946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3717527345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1827406110"/>
                    </a:ext>
                  </a:extLst>
                </a:gridCol>
                <a:gridCol w="1929105">
                  <a:extLst>
                    <a:ext uri="{9D8B030D-6E8A-4147-A177-3AD203B41FA5}">
                      <a16:colId xmlns:a16="http://schemas.microsoft.com/office/drawing/2014/main" val="3617752255"/>
                    </a:ext>
                  </a:extLst>
                </a:gridCol>
              </a:tblGrid>
              <a:tr h="360324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Μεταβλητή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Μονάδες (πρόβλεψη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Μονάδες</a:t>
                      </a:r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EMY)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Μονάδες</a:t>
                      </a:r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</a:t>
                      </a:r>
                      <a:r>
                        <a:rPr lang="el-GR" sz="1600" kern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βάση</a:t>
                      </a:r>
                      <a:r>
                        <a:rPr lang="el-GR" sz="1600" kern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Ι</a:t>
                      </a:r>
                      <a:r>
                        <a:rPr lang="en-US" sz="1600" kern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D</a:t>
                      </a:r>
                      <a:r>
                        <a:rPr lang="el-GR" sz="1600" kern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Χρησιμοποιούμενες μονάδε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83995542"/>
                  </a:ext>
                </a:extLst>
              </a:tr>
              <a:tr h="300076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Θερμοκρασία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Κ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°C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°C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°C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64782575"/>
                  </a:ext>
                </a:extLst>
              </a:tr>
              <a:tr h="360324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Ατμοσφαιρική πίεση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Pa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a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1470030"/>
                  </a:ext>
                </a:extLst>
              </a:tr>
              <a:tr h="360324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Ταχύτητα ανέμο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/s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n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/s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n</a:t>
                      </a:r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EMY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/s (</a:t>
                      </a:r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υπόλοιποι</a:t>
                      </a:r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15988240"/>
                  </a:ext>
                </a:extLst>
              </a:tr>
              <a:tr h="300076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Κατακρήμνιση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m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m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18648301"/>
                  </a:ext>
                </a:extLst>
              </a:tr>
              <a:tr h="300076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Σχετική υγρασία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el-GR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54326504"/>
                  </a:ext>
                </a:extLst>
              </a:tr>
            </a:tbl>
          </a:graphicData>
        </a:graphic>
      </p:graphicFrame>
      <p:sp>
        <p:nvSpPr>
          <p:cNvPr id="8" name="Φυσαλίδα ομιλίας: Έλλειψη 7">
            <a:extLst>
              <a:ext uri="{FF2B5EF4-FFF2-40B4-BE49-F238E27FC236}">
                <a16:creationId xmlns:a16="http://schemas.microsoft.com/office/drawing/2014/main" id="{769A1061-9D22-484D-9EF6-05745610C929}"/>
              </a:ext>
            </a:extLst>
          </p:cNvPr>
          <p:cNvSpPr/>
          <p:nvPr/>
        </p:nvSpPr>
        <p:spPr>
          <a:xfrm>
            <a:off x="6477000" y="2438400"/>
            <a:ext cx="2642118" cy="1676400"/>
          </a:xfrm>
          <a:prstGeom prst="wedgeEllipseCallout">
            <a:avLst/>
          </a:prstGeom>
          <a:solidFill>
            <a:srgbClr val="FFFF99"/>
          </a:solidFill>
          <a:ln>
            <a:solidFill>
              <a:srgbClr val="FFFF99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el-GR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 Κ = -273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l-GR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 °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endParaRPr lang="el-GR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r>
              <a:rPr lang="el-GR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en-US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Pa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= 100 Pa</a:t>
            </a:r>
            <a:endParaRPr lang="el-GR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en-US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n</a:t>
            </a:r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= 0,5144 m/s</a:t>
            </a:r>
            <a:endParaRPr lang="el-GR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r>
              <a:rPr lang="en-US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m = 1000 mm</a:t>
            </a:r>
            <a:endParaRPr lang="el-GR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Ορθογώνιο: Στρογγύλεμα διαγώνιων γωνιών 2">
            <a:extLst>
              <a:ext uri="{FF2B5EF4-FFF2-40B4-BE49-F238E27FC236}">
                <a16:creationId xmlns:a16="http://schemas.microsoft.com/office/drawing/2014/main" id="{6FFB6F2A-CA37-4B7B-A0AE-2EC35AEFD401}"/>
              </a:ext>
            </a:extLst>
          </p:cNvPr>
          <p:cNvSpPr/>
          <p:nvPr/>
        </p:nvSpPr>
        <p:spPr>
          <a:xfrm>
            <a:off x="1099846" y="3419196"/>
            <a:ext cx="4800600" cy="695604"/>
          </a:xfrm>
          <a:prstGeom prst="round2Diag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l-GR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Μετεωρολογικά δεδομένα διατίθενται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σε 3ωρη </a:t>
            </a:r>
            <a:r>
              <a:rPr lang="el-GR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χρονοσειρά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 από </a:t>
            </a:r>
            <a:r>
              <a:rPr lang="el-GR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το 1979 έως και σήμερα!</a:t>
            </a:r>
          </a:p>
        </p:txBody>
      </p:sp>
      <p:sp>
        <p:nvSpPr>
          <p:cNvPr id="9" name="Τίτλος 1">
            <a:extLst>
              <a:ext uri="{FF2B5EF4-FFF2-40B4-BE49-F238E27FC236}">
                <a16:creationId xmlns:a16="http://schemas.microsoft.com/office/drawing/2014/main" id="{AA25265B-1F04-4ADE-97D6-DA3DDBACB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rmAutofit/>
          </a:bodyPr>
          <a:lstStyle/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Βήμα </a:t>
            </a:r>
            <a:r>
              <a:rPr lang="en-US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:</a:t>
            </a:r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Ενοποίηση μονάδων</a:t>
            </a:r>
          </a:p>
        </p:txBody>
      </p:sp>
    </p:spTree>
    <p:extLst>
      <p:ext uri="{BB962C8B-B14F-4D97-AF65-F5344CB8AC3E}">
        <p14:creationId xmlns:p14="http://schemas.microsoft.com/office/powerpoint/2010/main" val="2489329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4844B8CA-83DA-4E45-AE41-03723CBE72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rmAutofit/>
          </a:bodyPr>
          <a:lstStyle/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Βήμα </a:t>
            </a:r>
            <a:r>
              <a:rPr lang="en-US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:</a:t>
            </a:r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Έλεγχος και Τυποποίηση δεδομένων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33400" y="3998655"/>
            <a:ext cx="79248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>
                <a:latin typeface="Times New Roman" pitchFamily="18" charset="0"/>
                <a:cs typeface="Times New Roman" pitchFamily="18" charset="0"/>
              </a:rPr>
              <a:t>Τυποποίηση:</a:t>
            </a:r>
            <a:endParaRPr lang="el-GR" sz="20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ü"/>
            </a:pPr>
            <a:r>
              <a:rPr lang="el-GR" sz="2000" dirty="0">
                <a:latin typeface="Times New Roman" pitchFamily="18" charset="0"/>
                <a:cs typeface="Times New Roman" pitchFamily="18" charset="0"/>
              </a:rPr>
              <a:t>Για να είναι δυνατή η σύγκριση και ο συνδυασμός των μετεωρολογικών δεδομένων πρόβλεψης και δεδομένων παρατήρησης για την ίδια μεταβλητή πρέπει αυτά να έχουν κοινό σημείο αναφοράς</a:t>
            </a:r>
          </a:p>
          <a:p>
            <a:pPr>
              <a:buFont typeface="Wingdings" pitchFamily="2" charset="2"/>
              <a:buChar char="ü"/>
            </a:pPr>
            <a:r>
              <a:rPr lang="el-GR" sz="2000" dirty="0">
                <a:latin typeface="Times New Roman" pitchFamily="18" charset="0"/>
                <a:cs typeface="Times New Roman" pitchFamily="18" charset="0"/>
              </a:rPr>
              <a:t>Απαλοιφή της </a:t>
            </a:r>
            <a:r>
              <a:rPr lang="el-GR" sz="2000" dirty="0" err="1">
                <a:latin typeface="Times New Roman" pitchFamily="18" charset="0"/>
                <a:cs typeface="Times New Roman" pitchFamily="18" charset="0"/>
              </a:rPr>
              <a:t>κυκλοστασιμότητας</a:t>
            </a:r>
            <a:r>
              <a:rPr lang="el-GR" sz="2000" dirty="0">
                <a:latin typeface="Times New Roman" pitchFamily="18" charset="0"/>
                <a:cs typeface="Times New Roman" pitchFamily="18" charset="0"/>
              </a:rPr>
              <a:t>, δηλαδή της περιοδικότητας των τιμών εντός του έτους και εντός της ημέρας</a:t>
            </a:r>
          </a:p>
          <a:p>
            <a:pPr>
              <a:buFont typeface="Wingdings" pitchFamily="2" charset="2"/>
              <a:buChar char="ü"/>
            </a:pPr>
            <a:r>
              <a:rPr lang="el-GR" sz="2000" dirty="0">
                <a:latin typeface="Times New Roman" pitchFamily="18" charset="0"/>
                <a:cs typeface="Times New Roman" pitchFamily="18" charset="0"/>
              </a:rPr>
              <a:t>Διαδικασία: Αφαίρεση μέσης τιμής και διαίρεση με τυπική απόκλιση για κάθε ώρα του μήνα: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57200" y="914400"/>
            <a:ext cx="7924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>
                <a:latin typeface="Times New Roman" pitchFamily="18" charset="0"/>
                <a:cs typeface="Times New Roman" pitchFamily="18" charset="0"/>
              </a:rPr>
              <a:t>Έλεγχος δεδομένων</a:t>
            </a:r>
            <a:r>
              <a:rPr lang="el-GR" sz="2000" dirty="0">
                <a:latin typeface="Times New Roman" pitchFamily="18" charset="0"/>
                <a:cs typeface="Times New Roman" pitchFamily="18" charset="0"/>
              </a:rPr>
              <a:t>:</a:t>
            </a:r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l-GR" sz="2000" dirty="0">
                <a:latin typeface="Times New Roman" pitchFamily="18" charset="0"/>
                <a:cs typeface="Times New Roman" pitchFamily="18" charset="0"/>
              </a:rPr>
              <a:t>για σταθμό</a:t>
            </a:r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 EMY)</a:t>
            </a:r>
            <a:endParaRPr lang="el-GR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9585603"/>
              </p:ext>
            </p:extLst>
          </p:nvPr>
        </p:nvGraphicFramePr>
        <p:xfrm>
          <a:off x="533400" y="1371600"/>
          <a:ext cx="8001000" cy="2468880"/>
        </p:xfrm>
        <a:graphic>
          <a:graphicData uri="http://schemas.openxmlformats.org/drawingml/2006/table">
            <a:tbl>
              <a:tblPr firstRow="1" bandRow="1">
                <a:tableStyleId>{EB9631B5-78F2-41C9-869B-9F39066F8104}</a:tableStyleId>
              </a:tblPr>
              <a:tblGrid>
                <a:gridCol w="30074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251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683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l-GR" sz="18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Μετεωρολογική</a:t>
                      </a:r>
                      <a:r>
                        <a:rPr lang="el-GR" sz="1800" baseline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μεταβλητή</a:t>
                      </a:r>
                      <a:endParaRPr lang="el-GR" sz="18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5">
                            <a:lumMod val="75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75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75000"/>
                            <a:tint val="23500"/>
                            <a:satMod val="16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l-GR" sz="18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Ελάχιστο</a:t>
                      </a:r>
                      <a:r>
                        <a:rPr lang="el-GR" sz="1800" baseline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όριο ελέγχου</a:t>
                      </a:r>
                      <a:endParaRPr lang="el-GR" sz="18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5">
                            <a:lumMod val="75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75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75000"/>
                            <a:tint val="23500"/>
                            <a:satMod val="16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l-GR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Μέγιστο όριο</a:t>
                      </a:r>
                      <a:r>
                        <a:rPr lang="el-GR" sz="1800" baseline="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ελέγχου</a:t>
                      </a:r>
                      <a:endParaRPr lang="el-GR" sz="18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5">
                            <a:lumMod val="75000"/>
                            <a:tint val="66000"/>
                            <a:satMod val="160000"/>
                          </a:schemeClr>
                        </a:gs>
                        <a:gs pos="50000">
                          <a:schemeClr val="accent5">
                            <a:lumMod val="75000"/>
                            <a:tint val="44500"/>
                            <a:satMod val="160000"/>
                          </a:schemeClr>
                        </a:gs>
                        <a:gs pos="100000">
                          <a:schemeClr val="accent5">
                            <a:lumMod val="75000"/>
                            <a:tint val="23500"/>
                            <a:satMod val="160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latin typeface="Times New Roman" pitchFamily="18" charset="0"/>
                          <a:cs typeface="Times New Roman" pitchFamily="18" charset="0"/>
                        </a:rPr>
                        <a:t>Θερμοκρασία (°</a:t>
                      </a:r>
                      <a:r>
                        <a:rPr lang="en-US" sz="1800">
                          <a:latin typeface="Times New Roman" pitchFamily="18" charset="0"/>
                          <a:cs typeface="Times New Roman" pitchFamily="18" charset="0"/>
                        </a:rPr>
                        <a:t>C</a:t>
                      </a:r>
                      <a:r>
                        <a:rPr lang="en-GB" sz="1800"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  <a:endParaRPr lang="el-GR" sz="180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latin typeface="Times New Roman" pitchFamily="18" charset="0"/>
                          <a:cs typeface="Times New Roman" pitchFamily="18" charset="0"/>
                        </a:rPr>
                        <a:t>-7</a:t>
                      </a:r>
                      <a:endParaRPr lang="el-GR" sz="180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lang="el-GR" sz="18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latin typeface="Times New Roman" pitchFamily="18" charset="0"/>
                          <a:cs typeface="Times New Roman" pitchFamily="18" charset="0"/>
                        </a:rPr>
                        <a:t>Ατμοσφαιρική πίεση (</a:t>
                      </a:r>
                      <a:r>
                        <a:rPr lang="en-US" sz="1800">
                          <a:latin typeface="Times New Roman" pitchFamily="18" charset="0"/>
                          <a:cs typeface="Times New Roman" pitchFamily="18" charset="0"/>
                        </a:rPr>
                        <a:t>Pa</a:t>
                      </a:r>
                      <a:r>
                        <a:rPr lang="en-GB" sz="1800"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  <a:endParaRPr lang="el-GR" sz="180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latin typeface="Times New Roman" pitchFamily="18" charset="0"/>
                          <a:cs typeface="Times New Roman" pitchFamily="18" charset="0"/>
                        </a:rPr>
                        <a:t>98 000</a:t>
                      </a:r>
                      <a:endParaRPr lang="el-GR" sz="18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latin typeface="Times New Roman" pitchFamily="18" charset="0"/>
                          <a:cs typeface="Times New Roman" pitchFamily="18" charset="0"/>
                        </a:rPr>
                        <a:t>105 00</a:t>
                      </a:r>
                      <a:r>
                        <a:rPr lang="en-US" sz="180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el-GR" sz="180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latin typeface="Times New Roman" pitchFamily="18" charset="0"/>
                          <a:cs typeface="Times New Roman" pitchFamily="18" charset="0"/>
                        </a:rPr>
                        <a:t>Τα</a:t>
                      </a:r>
                      <a:r>
                        <a:rPr lang="en-GB" sz="1800" dirty="0" err="1">
                          <a:latin typeface="Times New Roman" pitchFamily="18" charset="0"/>
                          <a:cs typeface="Times New Roman" pitchFamily="18" charset="0"/>
                        </a:rPr>
                        <a:t>χύτητ</a:t>
                      </a:r>
                      <a:r>
                        <a:rPr lang="en-GB" sz="1800" dirty="0">
                          <a:latin typeface="Times New Roman" pitchFamily="18" charset="0"/>
                          <a:cs typeface="Times New Roman" pitchFamily="18" charset="0"/>
                        </a:rPr>
                        <a:t>α ανέμου (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  <a:endParaRPr lang="el-GR" sz="18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el-GR" sz="180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40</a:t>
                      </a:r>
                      <a:endParaRPr lang="el-GR" sz="18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latin typeface="Times New Roman" pitchFamily="18" charset="0"/>
                          <a:cs typeface="Times New Roman" pitchFamily="18" charset="0"/>
                        </a:rPr>
                        <a:t>Συνολική κατακρήμνιση (</a:t>
                      </a:r>
                      <a:r>
                        <a:rPr lang="en-US" sz="1800">
                          <a:latin typeface="Times New Roman" pitchFamily="18" charset="0"/>
                          <a:cs typeface="Times New Roman" pitchFamily="18" charset="0"/>
                        </a:rPr>
                        <a:t>mm)</a:t>
                      </a:r>
                      <a:endParaRPr lang="el-GR" sz="180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el-GR" sz="180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>
                          <a:latin typeface="Times New Roman" pitchFamily="18" charset="0"/>
                          <a:cs typeface="Times New Roman" pitchFamily="18" charset="0"/>
                        </a:rPr>
                        <a:t>150</a:t>
                      </a:r>
                      <a:endParaRPr lang="el-GR" sz="180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l-GR" sz="1800" dirty="0">
                          <a:latin typeface="Times New Roman" pitchFamily="18" charset="0"/>
                          <a:cs typeface="Times New Roman" pitchFamily="18" charset="0"/>
                        </a:rPr>
                        <a:t>Σχετική υγρασία </a:t>
                      </a:r>
                      <a:r>
                        <a:rPr lang="en-GB" sz="1800" dirty="0">
                          <a:latin typeface="Times New Roman" pitchFamily="18" charset="0"/>
                          <a:cs typeface="Times New Roman" pitchFamily="18" charset="0"/>
                        </a:rPr>
                        <a:t>(%)</a:t>
                      </a:r>
                      <a:endParaRPr lang="el-GR" sz="18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el-GR" sz="18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 dirty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el-GR" sz="1800" dirty="0">
                        <a:solidFill>
                          <a:schemeClr val="tx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246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62515" name="Rectangle 5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graphicFrame>
        <p:nvGraphicFramePr>
          <p:cNvPr id="62514" name="Object 50"/>
          <p:cNvGraphicFramePr>
            <a:graphicFrameLocks noChangeAspect="1"/>
          </p:cNvGraphicFramePr>
          <p:nvPr/>
        </p:nvGraphicFramePr>
        <p:xfrm>
          <a:off x="3276600" y="6232478"/>
          <a:ext cx="2438400" cy="4731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47" name="Εξίσωση" r:id="rId4" imgW="30175200" imgH="6096000" progId="Equation.3">
                  <p:embed/>
                </p:oleObj>
              </mc:Choice>
              <mc:Fallback>
                <p:oleObj name="Εξίσωση" r:id="rId4" imgW="30175200" imgH="6096000" progId="Equation.3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76600" y="6232478"/>
                        <a:ext cx="2438400" cy="4731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49398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25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25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25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Ομάδα 2">
            <a:extLst>
              <a:ext uri="{FF2B5EF4-FFF2-40B4-BE49-F238E27FC236}">
                <a16:creationId xmlns:a16="http://schemas.microsoft.com/office/drawing/2014/main" id="{919FD1E2-9F7A-4838-ABF5-9373934E6BBF}"/>
              </a:ext>
            </a:extLst>
          </p:cNvPr>
          <p:cNvGrpSpPr/>
          <p:nvPr/>
        </p:nvGrpSpPr>
        <p:grpSpPr>
          <a:xfrm>
            <a:off x="228600" y="2183180"/>
            <a:ext cx="2209800" cy="3760419"/>
            <a:chOff x="228600" y="2183180"/>
            <a:chExt cx="2209800" cy="3760419"/>
          </a:xfrm>
        </p:grpSpPr>
        <p:sp>
          <p:nvSpPr>
            <p:cNvPr id="30" name="Rectangle 29"/>
            <p:cNvSpPr/>
            <p:nvPr/>
          </p:nvSpPr>
          <p:spPr>
            <a:xfrm>
              <a:off x="304800" y="2183180"/>
              <a:ext cx="2083837" cy="3760419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571502" y="2375854"/>
              <a:ext cx="160020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Β1 &amp; Β2</a:t>
              </a:r>
              <a:endPara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228600" y="2792780"/>
              <a:ext cx="2209800" cy="27238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1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 μοντέλα αναφοράς (</a:t>
              </a:r>
              <a:r>
                <a:rPr lang="en-US" sz="1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enchmark model</a:t>
              </a:r>
              <a:r>
                <a:rPr lang="el-GR" sz="1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 στα οποία η πρόγνωση θεωρείται ίση με τη μέση τιμή των μετρήσεων (Β1) ή με την μέτρηση τη στιγμή της πρόγνωσης (Β2)</a:t>
              </a:r>
              <a:endParaRPr lang="en-US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52" name="Down Arrow 51"/>
          <p:cNvSpPr/>
          <p:nvPr/>
        </p:nvSpPr>
        <p:spPr>
          <a:xfrm>
            <a:off x="3437712" y="1816695"/>
            <a:ext cx="134983" cy="337457"/>
          </a:xfrm>
          <a:prstGeom prst="downArrow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Down Arrow 52"/>
          <p:cNvSpPr/>
          <p:nvPr/>
        </p:nvSpPr>
        <p:spPr>
          <a:xfrm>
            <a:off x="5571312" y="1816695"/>
            <a:ext cx="134983" cy="337457"/>
          </a:xfrm>
          <a:prstGeom prst="downArrow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Down Arrow 53"/>
          <p:cNvSpPr/>
          <p:nvPr/>
        </p:nvSpPr>
        <p:spPr>
          <a:xfrm>
            <a:off x="7704911" y="1816695"/>
            <a:ext cx="134983" cy="337457"/>
          </a:xfrm>
          <a:prstGeom prst="downArrow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Down Arrow 54"/>
          <p:cNvSpPr/>
          <p:nvPr/>
        </p:nvSpPr>
        <p:spPr>
          <a:xfrm>
            <a:off x="1304111" y="1831209"/>
            <a:ext cx="134983" cy="337457"/>
          </a:xfrm>
          <a:prstGeom prst="downArrow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7" name="Straight Connector 56"/>
          <p:cNvCxnSpPr>
            <a:stCxn id="55" idx="0"/>
            <a:endCxn id="54" idx="0"/>
          </p:cNvCxnSpPr>
          <p:nvPr/>
        </p:nvCxnSpPr>
        <p:spPr>
          <a:xfrm rot="5400000" flipH="1" flipV="1">
            <a:off x="4564746" y="-1376448"/>
            <a:ext cx="14514" cy="64008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4">
            <a:extLst>
              <a:ext uri="{FF2B5EF4-FFF2-40B4-BE49-F238E27FC236}">
                <a16:creationId xmlns:a16="http://schemas.microsoft.com/office/drawing/2014/main" id="{F277CC81-6571-46D1-BD42-B373AD2F2BC0}"/>
              </a:ext>
            </a:extLst>
          </p:cNvPr>
          <p:cNvSpPr txBox="1">
            <a:spLocks/>
          </p:cNvSpPr>
          <p:nvPr/>
        </p:nvSpPr>
        <p:spPr>
          <a:xfrm>
            <a:off x="457200" y="0"/>
            <a:ext cx="8229600" cy="7112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Βήμα 2: Μέθοδοι πρόγνωσης (1)</a:t>
            </a:r>
            <a:endParaRPr lang="en-US" sz="36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Rectangle 69">
            <a:extLst>
              <a:ext uri="{FF2B5EF4-FFF2-40B4-BE49-F238E27FC236}">
                <a16:creationId xmlns:a16="http://schemas.microsoft.com/office/drawing/2014/main" id="{EC17D661-2D56-43E6-BD7A-A7A254CA7EF2}"/>
              </a:ext>
            </a:extLst>
          </p:cNvPr>
          <p:cNvSpPr/>
          <p:nvPr/>
        </p:nvSpPr>
        <p:spPr>
          <a:xfrm>
            <a:off x="1371603" y="914399"/>
            <a:ext cx="6400800" cy="753526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000" b="1" kern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Μέθοδοι πρόγνωσης που χρησιμοποιούν μόνο μετρήσεις (Στοχαστικά μοντέλα πρόγνωσης, αναλογικό μοντέλο)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4" name="Ομάδα 3">
            <a:extLst>
              <a:ext uri="{FF2B5EF4-FFF2-40B4-BE49-F238E27FC236}">
                <a16:creationId xmlns:a16="http://schemas.microsoft.com/office/drawing/2014/main" id="{F74D0C0B-D14B-4573-85F6-C4DC97716A99}"/>
              </a:ext>
            </a:extLst>
          </p:cNvPr>
          <p:cNvGrpSpPr/>
          <p:nvPr/>
        </p:nvGrpSpPr>
        <p:grpSpPr>
          <a:xfrm>
            <a:off x="2438400" y="2183180"/>
            <a:ext cx="2133599" cy="3760419"/>
            <a:chOff x="2438400" y="2183180"/>
            <a:chExt cx="2133599" cy="3760419"/>
          </a:xfrm>
        </p:grpSpPr>
        <p:sp>
          <p:nvSpPr>
            <p:cNvPr id="31" name="Rectangle 30"/>
            <p:cNvSpPr/>
            <p:nvPr/>
          </p:nvSpPr>
          <p:spPr>
            <a:xfrm>
              <a:off x="2438400" y="2183180"/>
              <a:ext cx="2133599" cy="3760419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AC0B7F5A-A5F3-415B-8F32-C5887AE207AE}"/>
                </a:ext>
              </a:extLst>
            </p:cNvPr>
            <p:cNvSpPr txBox="1"/>
            <p:nvPr/>
          </p:nvSpPr>
          <p:spPr>
            <a:xfrm>
              <a:off x="2705099" y="2375854"/>
              <a:ext cx="160020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ΣΜ1</a:t>
              </a:r>
              <a:endPara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7D68E3A1-99E2-4C74-BF7E-362A4CBDB58D}"/>
                </a:ext>
              </a:extLst>
            </p:cNvPr>
            <p:cNvSpPr txBox="1"/>
            <p:nvPr/>
          </p:nvSpPr>
          <p:spPr>
            <a:xfrm>
              <a:off x="2438400" y="2804992"/>
              <a:ext cx="2133599" cy="15542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l-GR" sz="1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Η πρόγνωση ισούται με τη σταθμισμένη μέτρηση τη στιγμή της πρόγνωσης </a:t>
              </a:r>
              <a:endParaRPr lang="en-US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5" name="Ομάδα 4">
            <a:extLst>
              <a:ext uri="{FF2B5EF4-FFF2-40B4-BE49-F238E27FC236}">
                <a16:creationId xmlns:a16="http://schemas.microsoft.com/office/drawing/2014/main" id="{019594E1-A46B-4A25-A135-2E31C560BAC3}"/>
              </a:ext>
            </a:extLst>
          </p:cNvPr>
          <p:cNvGrpSpPr/>
          <p:nvPr/>
        </p:nvGrpSpPr>
        <p:grpSpPr>
          <a:xfrm>
            <a:off x="4572000" y="2183180"/>
            <a:ext cx="2133599" cy="3760419"/>
            <a:chOff x="4572000" y="2183180"/>
            <a:chExt cx="2133599" cy="3760419"/>
          </a:xfrm>
        </p:grpSpPr>
        <p:sp>
          <p:nvSpPr>
            <p:cNvPr id="32" name="Rectangle 31"/>
            <p:cNvSpPr/>
            <p:nvPr/>
          </p:nvSpPr>
          <p:spPr>
            <a:xfrm>
              <a:off x="4620212" y="2183180"/>
              <a:ext cx="2085387" cy="3760419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52CED4B8-7374-4807-8544-69C3F86A63E7}"/>
                </a:ext>
              </a:extLst>
            </p:cNvPr>
            <p:cNvSpPr txBox="1"/>
            <p:nvPr/>
          </p:nvSpPr>
          <p:spPr>
            <a:xfrm>
              <a:off x="4724400" y="2375854"/>
              <a:ext cx="188323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ΣΜ10 &amp; ΣΜ24</a:t>
              </a:r>
              <a:endPara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15CD881E-2CCA-4BED-AC8C-ED8E0EA03DEB}"/>
                </a:ext>
              </a:extLst>
            </p:cNvPr>
            <p:cNvSpPr txBox="1"/>
            <p:nvPr/>
          </p:nvSpPr>
          <p:spPr>
            <a:xfrm>
              <a:off x="4572000" y="2811441"/>
              <a:ext cx="2133599" cy="243143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GB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Η </a:t>
              </a:r>
              <a:r>
                <a:rPr lang="el-GR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πρόγνωση</a:t>
              </a:r>
              <a:r>
                <a:rPr lang="en-GB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l-GR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ισούται</a:t>
              </a:r>
              <a:r>
                <a:rPr lang="en-GB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με το </a:t>
              </a:r>
              <a:r>
                <a:rPr lang="en-GB" sz="19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σταθμισμένο</a:t>
              </a:r>
              <a:r>
                <a:rPr lang="en-GB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l-GR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μέσο όρο των</a:t>
              </a:r>
              <a:r>
                <a:rPr lang="en-GB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0</a:t>
              </a:r>
              <a:r>
                <a:rPr lang="el-GR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(ή 24)</a:t>
              </a:r>
              <a:r>
                <a:rPr lang="en-GB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l-GR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προηγούμενων μετρήσεων από</a:t>
              </a:r>
              <a:r>
                <a:rPr lang="en-GB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l-GR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τη</a:t>
              </a:r>
              <a:r>
                <a:rPr lang="en-GB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l-GR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στιγμή</a:t>
              </a:r>
              <a:r>
                <a:rPr lang="en-GB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l-GR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τ</a:t>
              </a:r>
              <a:r>
                <a:rPr lang="en-GB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η</a:t>
              </a:r>
              <a:r>
                <a:rPr lang="el-GR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ς</a:t>
              </a:r>
              <a:r>
                <a:rPr lang="en-GB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l-GR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πρόγνωσης</a:t>
              </a:r>
              <a:endParaRPr lang="en-US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7" name="Ομάδα 6">
            <a:extLst>
              <a:ext uri="{FF2B5EF4-FFF2-40B4-BE49-F238E27FC236}">
                <a16:creationId xmlns:a16="http://schemas.microsoft.com/office/drawing/2014/main" id="{64F68672-464B-4721-9772-1DEDC564EE6A}"/>
              </a:ext>
            </a:extLst>
          </p:cNvPr>
          <p:cNvGrpSpPr/>
          <p:nvPr/>
        </p:nvGrpSpPr>
        <p:grpSpPr>
          <a:xfrm>
            <a:off x="6629400" y="2183180"/>
            <a:ext cx="2209800" cy="3760420"/>
            <a:chOff x="6629400" y="2183180"/>
            <a:chExt cx="2209800" cy="3760420"/>
          </a:xfrm>
        </p:grpSpPr>
        <p:sp>
          <p:nvSpPr>
            <p:cNvPr id="33" name="Rectangle 32"/>
            <p:cNvSpPr/>
            <p:nvPr/>
          </p:nvSpPr>
          <p:spPr>
            <a:xfrm>
              <a:off x="6753812" y="2183180"/>
              <a:ext cx="2009188" cy="3760420"/>
            </a:xfrm>
            <a:prstGeom prst="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kern="0">
                <a:solidFill>
                  <a:sysClr val="window" lastClr="FFFFFF"/>
                </a:solidFill>
                <a:latin typeface="Calibri"/>
              </a:endParaRPr>
            </a:p>
          </p:txBody>
        </p:sp>
        <p:grpSp>
          <p:nvGrpSpPr>
            <p:cNvPr id="6" name="Ομάδα 5">
              <a:extLst>
                <a:ext uri="{FF2B5EF4-FFF2-40B4-BE49-F238E27FC236}">
                  <a16:creationId xmlns:a16="http://schemas.microsoft.com/office/drawing/2014/main" id="{624F6D61-1E75-4BA4-876F-D36A5B38DCEF}"/>
                </a:ext>
              </a:extLst>
            </p:cNvPr>
            <p:cNvGrpSpPr/>
            <p:nvPr/>
          </p:nvGrpSpPr>
          <p:grpSpPr>
            <a:xfrm>
              <a:off x="6629400" y="2336422"/>
              <a:ext cx="2209800" cy="3396368"/>
              <a:chOff x="6629400" y="2336422"/>
              <a:chExt cx="2209800" cy="3396368"/>
            </a:xfrm>
          </p:grpSpPr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6B0E80C6-115B-46DD-8E57-BD279FD8EAB7}"/>
                  </a:ext>
                </a:extLst>
              </p:cNvPr>
              <p:cNvSpPr txBox="1"/>
              <p:nvPr/>
            </p:nvSpPr>
            <p:spPr>
              <a:xfrm>
                <a:off x="6958306" y="2336422"/>
                <a:ext cx="16002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l-GR" sz="2000" b="1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ΑΜ</a:t>
                </a:r>
                <a:endParaRPr lang="en-US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5E22ED21-1936-48AC-B1C4-66141D59585A}"/>
                  </a:ext>
                </a:extLst>
              </p:cNvPr>
              <p:cNvSpPr txBox="1"/>
              <p:nvPr/>
            </p:nvSpPr>
            <p:spPr>
              <a:xfrm>
                <a:off x="6629400" y="2716580"/>
                <a:ext cx="2209800" cy="301621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l-GR" sz="19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Το αναλογικό μοντέλο αναζητά</a:t>
                </a:r>
                <a:r>
                  <a:rPr lang="en-GB" sz="19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l-GR" sz="19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ανάλογες καταστάσεις και</a:t>
                </a:r>
                <a:r>
                  <a:rPr lang="en-GB" sz="19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l-GR" sz="19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λαμβάνει ως πρόγνωση το μέσο όρο των καταστάσεων για</a:t>
                </a:r>
                <a:r>
                  <a:rPr lang="en-GB" sz="19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l-GR" sz="19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την</a:t>
                </a:r>
                <a:r>
                  <a:rPr lang="en-GB" sz="19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επιθυμητή χρονική στιγμή</a:t>
                </a:r>
                <a:endParaRPr lang="en-US" sz="1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89220180-62B8-4958-90B0-F1AA39B6E6A0}"/>
              </a:ext>
            </a:extLst>
          </p:cNvPr>
          <p:cNvSpPr txBox="1"/>
          <p:nvPr/>
        </p:nvSpPr>
        <p:spPr>
          <a:xfrm>
            <a:off x="304800" y="6096000"/>
            <a:ext cx="84582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Πραγματοποιούνται προγνώσεις ανά 3 ώρες για το επόμενο </a:t>
            </a:r>
            <a:r>
              <a:rPr lang="el-GR" sz="2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ωρο</a:t>
            </a:r>
            <a:r>
              <a:rPr lang="el-GR" sz="22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46802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3" grpId="0" animBg="1"/>
      <p:bldP spid="54" grpId="0" animBg="1"/>
      <p:bldP spid="55" grpId="0" animBg="1"/>
      <p:bldP spid="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Ομάδα 1">
            <a:extLst>
              <a:ext uri="{FF2B5EF4-FFF2-40B4-BE49-F238E27FC236}">
                <a16:creationId xmlns:a16="http://schemas.microsoft.com/office/drawing/2014/main" id="{C9835126-55B8-4E89-B2EB-ECC73139B07A}"/>
              </a:ext>
            </a:extLst>
          </p:cNvPr>
          <p:cNvGrpSpPr/>
          <p:nvPr/>
        </p:nvGrpSpPr>
        <p:grpSpPr>
          <a:xfrm>
            <a:off x="304800" y="2174082"/>
            <a:ext cx="2133599" cy="3769518"/>
            <a:chOff x="304800" y="2174082"/>
            <a:chExt cx="2133599" cy="3769518"/>
          </a:xfrm>
        </p:grpSpPr>
        <p:sp>
          <p:nvSpPr>
            <p:cNvPr id="30" name="Rectangle 29"/>
            <p:cNvSpPr/>
            <p:nvPr/>
          </p:nvSpPr>
          <p:spPr>
            <a:xfrm>
              <a:off x="304800" y="2174082"/>
              <a:ext cx="2083837" cy="3769518"/>
            </a:xfrm>
            <a:prstGeom prst="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571502" y="2366756"/>
              <a:ext cx="160020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ΜΠ</a:t>
              </a:r>
              <a:endPara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304800" y="2783682"/>
              <a:ext cx="2133599" cy="21390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1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Η πρόγνωση ισούται με την μετεωρολογική πρόβλεψη από το ατμοσφαιρικό μοντέλο           </a:t>
              </a:r>
              <a:r>
                <a:rPr lang="en-US" sz="1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RA-Interim</a:t>
              </a:r>
            </a:p>
          </p:txBody>
        </p:sp>
      </p:grpSp>
      <p:sp>
        <p:nvSpPr>
          <p:cNvPr id="52" name="Down Arrow 51"/>
          <p:cNvSpPr/>
          <p:nvPr/>
        </p:nvSpPr>
        <p:spPr>
          <a:xfrm>
            <a:off x="3437712" y="1807597"/>
            <a:ext cx="134983" cy="337457"/>
          </a:xfrm>
          <a:prstGeom prst="downArrow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Down Arrow 52"/>
          <p:cNvSpPr/>
          <p:nvPr/>
        </p:nvSpPr>
        <p:spPr>
          <a:xfrm>
            <a:off x="5571312" y="1807597"/>
            <a:ext cx="134983" cy="337457"/>
          </a:xfrm>
          <a:prstGeom prst="downArrow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Down Arrow 53"/>
          <p:cNvSpPr/>
          <p:nvPr/>
        </p:nvSpPr>
        <p:spPr>
          <a:xfrm>
            <a:off x="7704911" y="1807597"/>
            <a:ext cx="134983" cy="337457"/>
          </a:xfrm>
          <a:prstGeom prst="downArrow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Down Arrow 54"/>
          <p:cNvSpPr/>
          <p:nvPr/>
        </p:nvSpPr>
        <p:spPr>
          <a:xfrm>
            <a:off x="1304111" y="1822111"/>
            <a:ext cx="134983" cy="337457"/>
          </a:xfrm>
          <a:prstGeom prst="downArrow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7" name="Straight Connector 56"/>
          <p:cNvCxnSpPr>
            <a:stCxn id="55" idx="0"/>
            <a:endCxn id="54" idx="0"/>
          </p:cNvCxnSpPr>
          <p:nvPr/>
        </p:nvCxnSpPr>
        <p:spPr>
          <a:xfrm rot="5400000" flipH="1" flipV="1">
            <a:off x="4564746" y="-1385546"/>
            <a:ext cx="14514" cy="640080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4">
            <a:extLst>
              <a:ext uri="{FF2B5EF4-FFF2-40B4-BE49-F238E27FC236}">
                <a16:creationId xmlns:a16="http://schemas.microsoft.com/office/drawing/2014/main" id="{F277CC81-6571-46D1-BD42-B373AD2F2BC0}"/>
              </a:ext>
            </a:extLst>
          </p:cNvPr>
          <p:cNvSpPr txBox="1">
            <a:spLocks/>
          </p:cNvSpPr>
          <p:nvPr/>
        </p:nvSpPr>
        <p:spPr>
          <a:xfrm>
            <a:off x="457200" y="0"/>
            <a:ext cx="8229600" cy="7112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Βήμα 2: Μέθοδοι πρόγνωσης (2)</a:t>
            </a:r>
            <a:endParaRPr lang="en-US" sz="36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Rectangle 69">
            <a:extLst>
              <a:ext uri="{FF2B5EF4-FFF2-40B4-BE49-F238E27FC236}">
                <a16:creationId xmlns:a16="http://schemas.microsoft.com/office/drawing/2014/main" id="{EC17D661-2D56-43E6-BD7A-A7A254CA7EF2}"/>
              </a:ext>
            </a:extLst>
          </p:cNvPr>
          <p:cNvSpPr/>
          <p:nvPr/>
        </p:nvSpPr>
        <p:spPr>
          <a:xfrm>
            <a:off x="2388637" y="958906"/>
            <a:ext cx="4363117" cy="708395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l-GR" sz="2000" b="1" kern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Μέθοδοι συνδυασμού μετεωρολογικής πρόβλεψης και μετρήσεων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" name="Ομάδα 2">
            <a:extLst>
              <a:ext uri="{FF2B5EF4-FFF2-40B4-BE49-F238E27FC236}">
                <a16:creationId xmlns:a16="http://schemas.microsoft.com/office/drawing/2014/main" id="{AA9067B2-5F48-4FCE-8E8F-19B199496518}"/>
              </a:ext>
            </a:extLst>
          </p:cNvPr>
          <p:cNvGrpSpPr/>
          <p:nvPr/>
        </p:nvGrpSpPr>
        <p:grpSpPr>
          <a:xfrm>
            <a:off x="2438400" y="2174082"/>
            <a:ext cx="2133599" cy="3769518"/>
            <a:chOff x="2438400" y="2174082"/>
            <a:chExt cx="2133599" cy="3769518"/>
          </a:xfrm>
        </p:grpSpPr>
        <p:sp>
          <p:nvSpPr>
            <p:cNvPr id="31" name="Rectangle 30"/>
            <p:cNvSpPr/>
            <p:nvPr/>
          </p:nvSpPr>
          <p:spPr>
            <a:xfrm>
              <a:off x="2438400" y="2174082"/>
              <a:ext cx="2133599" cy="3769518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AC0B7F5A-A5F3-415B-8F32-C5887AE207AE}"/>
                </a:ext>
              </a:extLst>
            </p:cNvPr>
            <p:cNvSpPr txBox="1"/>
            <p:nvPr/>
          </p:nvSpPr>
          <p:spPr>
            <a:xfrm>
              <a:off x="2705099" y="2366756"/>
              <a:ext cx="160020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ΣΠΜ1</a:t>
              </a:r>
              <a:endPara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7D68E3A1-99E2-4C74-BF7E-362A4CBDB58D}"/>
                </a:ext>
              </a:extLst>
            </p:cNvPr>
            <p:cNvSpPr txBox="1"/>
            <p:nvPr/>
          </p:nvSpPr>
          <p:spPr>
            <a:xfrm>
              <a:off x="2438400" y="2795894"/>
              <a:ext cx="2133599" cy="243143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l-GR" sz="1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Η πρόγνωση ισούται με το σταθμισμένο     μέσο όρο της μετεωρολογικής πρόβλεψης και της μέτρησης τη στιγμή της πρόγνωσης</a:t>
              </a:r>
              <a:endParaRPr lang="en-US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4" name="Ομάδα 3">
            <a:extLst>
              <a:ext uri="{FF2B5EF4-FFF2-40B4-BE49-F238E27FC236}">
                <a16:creationId xmlns:a16="http://schemas.microsoft.com/office/drawing/2014/main" id="{B95BD937-56C8-4422-A40E-64A0E1E14C72}"/>
              </a:ext>
            </a:extLst>
          </p:cNvPr>
          <p:cNvGrpSpPr/>
          <p:nvPr/>
        </p:nvGrpSpPr>
        <p:grpSpPr>
          <a:xfrm>
            <a:off x="4541954" y="2174082"/>
            <a:ext cx="2239846" cy="3769518"/>
            <a:chOff x="4541954" y="2174082"/>
            <a:chExt cx="2239846" cy="3769518"/>
          </a:xfrm>
        </p:grpSpPr>
        <p:sp>
          <p:nvSpPr>
            <p:cNvPr id="32" name="Rectangle 31"/>
            <p:cNvSpPr/>
            <p:nvPr/>
          </p:nvSpPr>
          <p:spPr>
            <a:xfrm>
              <a:off x="4620212" y="2174082"/>
              <a:ext cx="2085387" cy="3769518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52CED4B8-7374-4807-8544-69C3F86A63E7}"/>
                </a:ext>
              </a:extLst>
            </p:cNvPr>
            <p:cNvSpPr txBox="1"/>
            <p:nvPr/>
          </p:nvSpPr>
          <p:spPr>
            <a:xfrm>
              <a:off x="4541954" y="2366756"/>
              <a:ext cx="22398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ΣΠΜ10 &amp; ΣΠΜ24</a:t>
              </a:r>
              <a:endPara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15CD881E-2CCA-4BED-AC8C-ED8E0EA03DEB}"/>
                </a:ext>
              </a:extLst>
            </p:cNvPr>
            <p:cNvSpPr txBox="1"/>
            <p:nvPr/>
          </p:nvSpPr>
          <p:spPr>
            <a:xfrm>
              <a:off x="4572000" y="2802343"/>
              <a:ext cx="2209800" cy="301621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l-GR" sz="19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Η πρόγνωση ισούται με το σταθμισμένο    μέσο όρο της μετεωρολογικής πρόβλεψης και των 10 (ή 24) προηγούμενων μετρήσεων από τη στιγμή της πρόγνωσης </a:t>
              </a:r>
              <a:endParaRPr lang="en-US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5" name="Ομάδα 4">
            <a:extLst>
              <a:ext uri="{FF2B5EF4-FFF2-40B4-BE49-F238E27FC236}">
                <a16:creationId xmlns:a16="http://schemas.microsoft.com/office/drawing/2014/main" id="{2F78D498-765A-43A7-8A4D-67775B9CC396}"/>
              </a:ext>
            </a:extLst>
          </p:cNvPr>
          <p:cNvGrpSpPr/>
          <p:nvPr/>
        </p:nvGrpSpPr>
        <p:grpSpPr>
          <a:xfrm>
            <a:off x="6751754" y="2174081"/>
            <a:ext cx="2087446" cy="3769519"/>
            <a:chOff x="6751754" y="2174081"/>
            <a:chExt cx="2087446" cy="3769519"/>
          </a:xfrm>
        </p:grpSpPr>
        <p:sp>
          <p:nvSpPr>
            <p:cNvPr id="33" name="Rectangle 32"/>
            <p:cNvSpPr/>
            <p:nvPr/>
          </p:nvSpPr>
          <p:spPr>
            <a:xfrm>
              <a:off x="6753812" y="2174081"/>
              <a:ext cx="2009188" cy="3769519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6B0E80C6-115B-46DD-8E57-BD279FD8EAB7}"/>
                </a:ext>
              </a:extLst>
            </p:cNvPr>
            <p:cNvSpPr txBox="1"/>
            <p:nvPr/>
          </p:nvSpPr>
          <p:spPr>
            <a:xfrm>
              <a:off x="6958306" y="2327324"/>
              <a:ext cx="160020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ΣΠΑΜ</a:t>
              </a:r>
              <a:endParaRPr lang="en-U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5E22ED21-1936-48AC-B1C4-66141D59585A}"/>
                </a:ext>
              </a:extLst>
            </p:cNvPr>
            <p:cNvSpPr txBox="1"/>
            <p:nvPr/>
          </p:nvSpPr>
          <p:spPr>
            <a:xfrm>
              <a:off x="6751754" y="2707482"/>
              <a:ext cx="2087446" cy="272382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l-GR" sz="19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Η πρόγνωση ισούται με το σταθμισμένο   μέσο όρο της μετεωρολογικής πρόβλεψης και του αποτελέσματος του αναλογικού μοντέλου </a:t>
              </a:r>
              <a:endParaRPr lang="en-US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3651F00-105C-4BF7-9E71-76B4B35FD3DD}"/>
              </a:ext>
            </a:extLst>
          </p:cNvPr>
          <p:cNvSpPr txBox="1"/>
          <p:nvPr/>
        </p:nvSpPr>
        <p:spPr>
          <a:xfrm>
            <a:off x="304800" y="6096000"/>
            <a:ext cx="84582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Πραγματοποιούνται προγνώσεις ανά 3 ώρες για το επόμενο </a:t>
            </a:r>
            <a:r>
              <a:rPr lang="en-US" sz="2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r>
            <a:r>
              <a:rPr lang="el-GR" sz="22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ωρο</a:t>
            </a:r>
            <a:r>
              <a:rPr lang="el-GR" sz="22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42581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3" grpId="0" animBg="1"/>
      <p:bldP spid="54" grpId="0" animBg="1"/>
      <p:bldP spid="55" grpId="0" animBg="1"/>
      <p:bldP spid="2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://www.moxa.com/Innovation/images/DT-diagram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Title 4">
            <a:extLst>
              <a:ext uri="{FF2B5EF4-FFF2-40B4-BE49-F238E27FC236}">
                <a16:creationId xmlns:a16="http://schemas.microsoft.com/office/drawing/2014/main" id="{A09BD31C-B8AD-4817-B565-13BA5019F0CE}"/>
              </a:ext>
            </a:extLst>
          </p:cNvPr>
          <p:cNvSpPr txBox="1">
            <a:spLocks/>
          </p:cNvSpPr>
          <p:nvPr/>
        </p:nvSpPr>
        <p:spPr>
          <a:xfrm>
            <a:off x="457200" y="0"/>
            <a:ext cx="8229600" cy="71120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Βήμα 2: Μέθοδοι πρόγνωσης (</a:t>
            </a:r>
            <a:r>
              <a:rPr lang="en-US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36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4" name="Αντικείμενο 13">
            <a:extLst>
              <a:ext uri="{FF2B5EF4-FFF2-40B4-BE49-F238E27FC236}">
                <a16:creationId xmlns:a16="http://schemas.microsoft.com/office/drawing/2014/main" id="{63BEF789-DD6B-4743-B2CC-398E6243521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85841471"/>
              </p:ext>
            </p:extLst>
          </p:nvPr>
        </p:nvGraphicFramePr>
        <p:xfrm>
          <a:off x="2133601" y="1156451"/>
          <a:ext cx="1645084" cy="3785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06" name="Εξίσωση" r:id="rId3" imgW="21945600" imgH="4876800" progId="Equation.3">
                  <p:embed/>
                </p:oleObj>
              </mc:Choice>
              <mc:Fallback>
                <p:oleObj name="Εξίσωση" r:id="rId3" imgW="21945600" imgH="4876800" progId="Equation.3">
                  <p:embed/>
                  <p:pic>
                    <p:nvPicPr>
                      <p:cNvPr id="0" name="Picture 2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3601" y="1156451"/>
                        <a:ext cx="1645084" cy="3785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Αντικείμενο 15">
            <a:extLst>
              <a:ext uri="{FF2B5EF4-FFF2-40B4-BE49-F238E27FC236}">
                <a16:creationId xmlns:a16="http://schemas.microsoft.com/office/drawing/2014/main" id="{55ED8555-9911-4619-BF1D-34D2A78422D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97297557"/>
              </p:ext>
            </p:extLst>
          </p:nvPr>
        </p:nvGraphicFramePr>
        <p:xfrm>
          <a:off x="5279434" y="1148480"/>
          <a:ext cx="2051050" cy="381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07" name="Εξίσωση" r:id="rId5" imgW="27736800" imgH="4876800" progId="Equation.3">
                  <p:embed/>
                </p:oleObj>
              </mc:Choice>
              <mc:Fallback>
                <p:oleObj name="Εξίσωση" r:id="rId5" imgW="27736800" imgH="4876800" progId="Equation.3">
                  <p:embed/>
                  <p:pic>
                    <p:nvPicPr>
                      <p:cNvPr id="0" name="Picture 2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79434" y="1148480"/>
                        <a:ext cx="2051050" cy="381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5" name="Αντικείμενο 34">
            <a:extLst>
              <a:ext uri="{FF2B5EF4-FFF2-40B4-BE49-F238E27FC236}">
                <a16:creationId xmlns:a16="http://schemas.microsoft.com/office/drawing/2014/main" id="{73E70F91-7100-4CAE-864A-5A918C07225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39224354"/>
              </p:ext>
            </p:extLst>
          </p:nvPr>
        </p:nvGraphicFramePr>
        <p:xfrm>
          <a:off x="2133601" y="3447832"/>
          <a:ext cx="2543503" cy="3481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08" name="Εξίσωση" r:id="rId7" imgW="35356800" imgH="4876800" progId="Equation.3">
                  <p:embed/>
                </p:oleObj>
              </mc:Choice>
              <mc:Fallback>
                <p:oleObj name="Εξίσωση" r:id="rId7" imgW="35356800" imgH="4876800" progId="Equation.3">
                  <p:embed/>
                  <p:pic>
                    <p:nvPicPr>
                      <p:cNvPr id="0" name="Picture 26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3601" y="3447832"/>
                        <a:ext cx="2543503" cy="34814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9" name="Αντικείμενο 38">
            <a:extLst>
              <a:ext uri="{FF2B5EF4-FFF2-40B4-BE49-F238E27FC236}">
                <a16:creationId xmlns:a16="http://schemas.microsoft.com/office/drawing/2014/main" id="{5C4D158D-0CD0-44B1-9472-470AC927A91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01055254"/>
              </p:ext>
            </p:extLst>
          </p:nvPr>
        </p:nvGraphicFramePr>
        <p:xfrm>
          <a:off x="2133601" y="4187946"/>
          <a:ext cx="2620405" cy="3696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09" name="Εξίσωση" r:id="rId9" imgW="35966400" imgH="4876800" progId="Equation.3">
                  <p:embed/>
                </p:oleObj>
              </mc:Choice>
              <mc:Fallback>
                <p:oleObj name="Εξίσωση" r:id="rId9" imgW="35966400" imgH="4876800" progId="Equation.3">
                  <p:embed/>
                  <p:pic>
                    <p:nvPicPr>
                      <p:cNvPr id="0" name="Picture 2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3601" y="4187946"/>
                        <a:ext cx="2620405" cy="3696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Hexagon 38">
            <a:extLst>
              <a:ext uri="{FF2B5EF4-FFF2-40B4-BE49-F238E27FC236}">
                <a16:creationId xmlns:a16="http://schemas.microsoft.com/office/drawing/2014/main" id="{6DDAA9A3-9D8A-425F-BBDE-C7E431B2B9A7}"/>
              </a:ext>
            </a:extLst>
          </p:cNvPr>
          <p:cNvSpPr/>
          <p:nvPr/>
        </p:nvSpPr>
        <p:spPr>
          <a:xfrm>
            <a:off x="326431" y="1066800"/>
            <a:ext cx="1523997" cy="548640"/>
          </a:xfrm>
          <a:prstGeom prst="hexagon">
            <a:avLst/>
          </a:prstGeom>
          <a:solidFill>
            <a:srgbClr val="FF99FF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tIns="91440" rtlCol="0" anchor="ctr"/>
          <a:lstStyle/>
          <a:p>
            <a:pPr lvl="0" algn="ctr"/>
            <a:r>
              <a:rPr lang="el-GR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Kozuka Gothic Pr6N B" pitchFamily="34" charset="-128"/>
                <a:cs typeface="Times New Roman" panose="02020603050405020304" pitchFamily="18" charset="0"/>
              </a:rPr>
              <a:t>Β1 &amp; Β2</a:t>
            </a:r>
            <a:endParaRPr lang="en-US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Kozuka Gothic Pr6N B" pitchFamily="34" charset="-128"/>
              <a:cs typeface="Times New Roman" panose="02020603050405020304" pitchFamily="18" charset="0"/>
            </a:endParaRPr>
          </a:p>
        </p:txBody>
      </p:sp>
      <p:sp>
        <p:nvSpPr>
          <p:cNvPr id="92" name="Hexagon 39">
            <a:extLst>
              <a:ext uri="{FF2B5EF4-FFF2-40B4-BE49-F238E27FC236}">
                <a16:creationId xmlns:a16="http://schemas.microsoft.com/office/drawing/2014/main" id="{85DF4058-1C57-42C3-82EC-87D1C60E9190}"/>
              </a:ext>
            </a:extLst>
          </p:cNvPr>
          <p:cNvSpPr/>
          <p:nvPr/>
        </p:nvSpPr>
        <p:spPr>
          <a:xfrm>
            <a:off x="324466" y="2576468"/>
            <a:ext cx="1525964" cy="548640"/>
          </a:xfrm>
          <a:prstGeom prst="hexagon">
            <a:avLst/>
          </a:prstGeom>
          <a:solidFill>
            <a:srgbClr val="FF99FF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tIns="91440" rtlCol="0" anchor="ctr"/>
          <a:lstStyle/>
          <a:p>
            <a:pPr algn="ctr"/>
            <a:r>
              <a:rPr lang="el-GR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Kozuka Gothic Pr6N B" pitchFamily="34" charset="-128"/>
                <a:cs typeface="Times New Roman" panose="02020603050405020304" pitchFamily="18" charset="0"/>
              </a:rPr>
              <a:t>ΣΜ10 &amp; ΣΜ24</a:t>
            </a:r>
            <a:endParaRPr lang="en-US" sz="16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Kozuka Gothic Pr6N B" pitchFamily="34" charset="-128"/>
              <a:cs typeface="Times New Roman" panose="02020603050405020304" pitchFamily="18" charset="0"/>
            </a:endParaRPr>
          </a:p>
        </p:txBody>
      </p:sp>
      <p:sp>
        <p:nvSpPr>
          <p:cNvPr id="99" name="Hexagon 41">
            <a:extLst>
              <a:ext uri="{FF2B5EF4-FFF2-40B4-BE49-F238E27FC236}">
                <a16:creationId xmlns:a16="http://schemas.microsoft.com/office/drawing/2014/main" id="{EBF9AFD6-59B1-431A-BE56-B2A37CA6E6D1}"/>
              </a:ext>
            </a:extLst>
          </p:cNvPr>
          <p:cNvSpPr/>
          <p:nvPr/>
        </p:nvSpPr>
        <p:spPr>
          <a:xfrm>
            <a:off x="323974" y="4083784"/>
            <a:ext cx="1526456" cy="548640"/>
          </a:xfrm>
          <a:prstGeom prst="hexagon">
            <a:avLst/>
          </a:prstGeom>
          <a:solidFill>
            <a:srgbClr val="FF99FF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tIns="91440" rtlCol="0" anchor="ctr"/>
          <a:lstStyle/>
          <a:p>
            <a:pPr algn="ctr"/>
            <a:r>
              <a:rPr lang="el-GR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Kozuka Gothic Pr6N B" pitchFamily="34" charset="-128"/>
                <a:cs typeface="Times New Roman" panose="02020603050405020304" pitchFamily="18" charset="0"/>
              </a:rPr>
              <a:t>ΜΠ</a:t>
            </a:r>
            <a:endParaRPr lang="en-US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Kozuka Gothic Pr6N B" pitchFamily="34" charset="-128"/>
              <a:cs typeface="Times New Roman" panose="02020603050405020304" pitchFamily="18" charset="0"/>
            </a:endParaRPr>
          </a:p>
        </p:txBody>
      </p:sp>
      <p:sp>
        <p:nvSpPr>
          <p:cNvPr id="100" name="Hexagon 42">
            <a:extLst>
              <a:ext uri="{FF2B5EF4-FFF2-40B4-BE49-F238E27FC236}">
                <a16:creationId xmlns:a16="http://schemas.microsoft.com/office/drawing/2014/main" id="{E1586E29-CBC1-4E99-850B-EECFD2EB6C7F}"/>
              </a:ext>
            </a:extLst>
          </p:cNvPr>
          <p:cNvSpPr/>
          <p:nvPr/>
        </p:nvSpPr>
        <p:spPr>
          <a:xfrm>
            <a:off x="304801" y="5562600"/>
            <a:ext cx="1545631" cy="548640"/>
          </a:xfrm>
          <a:prstGeom prst="hexagon">
            <a:avLst/>
          </a:prstGeom>
          <a:solidFill>
            <a:srgbClr val="FF99FF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tIns="91440" rtlCol="0" anchor="ctr"/>
          <a:lstStyle/>
          <a:p>
            <a:pPr algn="ctr"/>
            <a:r>
              <a:rPr lang="el-GR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Kozuka Gothic Pr6N B" pitchFamily="34" charset="-128"/>
                <a:cs typeface="Times New Roman" panose="02020603050405020304" pitchFamily="18" charset="0"/>
              </a:rPr>
              <a:t>ΣΠ10 &amp; ΣΠΜ24</a:t>
            </a:r>
            <a:endParaRPr lang="en-US" sz="16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Kozuka Gothic Pr6N B" pitchFamily="34" charset="-128"/>
              <a:cs typeface="Times New Roman" panose="02020603050405020304" pitchFamily="18" charset="0"/>
            </a:endParaRPr>
          </a:p>
        </p:txBody>
      </p:sp>
      <p:sp>
        <p:nvSpPr>
          <p:cNvPr id="101" name="Hexagon 43">
            <a:extLst>
              <a:ext uri="{FF2B5EF4-FFF2-40B4-BE49-F238E27FC236}">
                <a16:creationId xmlns:a16="http://schemas.microsoft.com/office/drawing/2014/main" id="{28CD957F-F6DA-48E7-9DFA-E292AC51D66A}"/>
              </a:ext>
            </a:extLst>
          </p:cNvPr>
          <p:cNvSpPr/>
          <p:nvPr/>
        </p:nvSpPr>
        <p:spPr>
          <a:xfrm>
            <a:off x="304800" y="1818640"/>
            <a:ext cx="1545629" cy="548640"/>
          </a:xfrm>
          <a:prstGeom prst="hexagon">
            <a:avLst/>
          </a:prstGeom>
          <a:solidFill>
            <a:srgbClr val="66CCFF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tIns="91440" rtlCol="0" anchor="ctr"/>
          <a:lstStyle/>
          <a:p>
            <a:pPr lvl="0" algn="ctr"/>
            <a:r>
              <a:rPr lang="el-GR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Kozuka Gothic Pr6N B" pitchFamily="34" charset="-128"/>
                <a:cs typeface="Times New Roman" panose="02020603050405020304" pitchFamily="18" charset="0"/>
              </a:rPr>
              <a:t>ΣΜ1</a:t>
            </a:r>
            <a:endParaRPr lang="en-US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Kozuka Gothic Pr6N B" pitchFamily="34" charset="-128"/>
              <a:cs typeface="Times New Roman" panose="02020603050405020304" pitchFamily="18" charset="0"/>
            </a:endParaRPr>
          </a:p>
        </p:txBody>
      </p:sp>
      <p:sp>
        <p:nvSpPr>
          <p:cNvPr id="102" name="Hexagon 44">
            <a:extLst>
              <a:ext uri="{FF2B5EF4-FFF2-40B4-BE49-F238E27FC236}">
                <a16:creationId xmlns:a16="http://schemas.microsoft.com/office/drawing/2014/main" id="{7EEBDA9E-A913-4C3F-BF9F-CB9ECFBC5F8B}"/>
              </a:ext>
            </a:extLst>
          </p:cNvPr>
          <p:cNvSpPr/>
          <p:nvPr/>
        </p:nvSpPr>
        <p:spPr>
          <a:xfrm>
            <a:off x="324466" y="3330126"/>
            <a:ext cx="1525964" cy="548640"/>
          </a:xfrm>
          <a:prstGeom prst="hexagon">
            <a:avLst/>
          </a:prstGeom>
          <a:solidFill>
            <a:srgbClr val="66CCFF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tIns="91440" rtlCol="0" anchor="ctr"/>
          <a:lstStyle/>
          <a:p>
            <a:pPr lvl="0" algn="ctr"/>
            <a:r>
              <a:rPr lang="el-GR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Kozuka Gothic Pr6N B" pitchFamily="34" charset="-128"/>
                <a:cs typeface="Times New Roman" panose="02020603050405020304" pitchFamily="18" charset="0"/>
              </a:rPr>
              <a:t>ΑΜ</a:t>
            </a:r>
            <a:endParaRPr lang="en-US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Kozuka Gothic Pr6N B" pitchFamily="34" charset="-128"/>
              <a:cs typeface="Times New Roman" panose="02020603050405020304" pitchFamily="18" charset="0"/>
            </a:endParaRPr>
          </a:p>
        </p:txBody>
      </p:sp>
      <p:sp>
        <p:nvSpPr>
          <p:cNvPr id="103" name="Hexagon 45">
            <a:extLst>
              <a:ext uri="{FF2B5EF4-FFF2-40B4-BE49-F238E27FC236}">
                <a16:creationId xmlns:a16="http://schemas.microsoft.com/office/drawing/2014/main" id="{94104AB7-9B4D-443E-8083-570A5615321B}"/>
              </a:ext>
            </a:extLst>
          </p:cNvPr>
          <p:cNvSpPr/>
          <p:nvPr/>
        </p:nvSpPr>
        <p:spPr>
          <a:xfrm>
            <a:off x="323973" y="4837442"/>
            <a:ext cx="1526457" cy="548640"/>
          </a:xfrm>
          <a:prstGeom prst="hexagon">
            <a:avLst/>
          </a:prstGeom>
          <a:solidFill>
            <a:srgbClr val="66CCFF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tIns="91440" rtlCol="0" anchor="ctr"/>
          <a:lstStyle/>
          <a:p>
            <a:pPr lvl="0" algn="ctr"/>
            <a:r>
              <a:rPr lang="el-GR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Kozuka Gothic Pr6N B" pitchFamily="34" charset="-128"/>
                <a:cs typeface="Times New Roman" panose="02020603050405020304" pitchFamily="18" charset="0"/>
              </a:rPr>
              <a:t>ΣΠΜ1</a:t>
            </a:r>
            <a:endParaRPr lang="en-US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Kozuka Gothic Pr6N B" pitchFamily="34" charset="-128"/>
              <a:cs typeface="Times New Roman" panose="02020603050405020304" pitchFamily="18" charset="0"/>
            </a:endParaRPr>
          </a:p>
        </p:txBody>
      </p:sp>
      <p:sp>
        <p:nvSpPr>
          <p:cNvPr id="104" name="Hexagon 45">
            <a:extLst>
              <a:ext uri="{FF2B5EF4-FFF2-40B4-BE49-F238E27FC236}">
                <a16:creationId xmlns:a16="http://schemas.microsoft.com/office/drawing/2014/main" id="{2D537564-30E6-4B86-9214-FB8B28CAE6FF}"/>
              </a:ext>
            </a:extLst>
          </p:cNvPr>
          <p:cNvSpPr/>
          <p:nvPr/>
        </p:nvSpPr>
        <p:spPr>
          <a:xfrm>
            <a:off x="304800" y="6252791"/>
            <a:ext cx="1545631" cy="548640"/>
          </a:xfrm>
          <a:prstGeom prst="hexagon">
            <a:avLst/>
          </a:prstGeom>
          <a:solidFill>
            <a:srgbClr val="66CCFF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tIns="91440" rtlCol="0" anchor="ctr"/>
          <a:lstStyle/>
          <a:p>
            <a:pPr lvl="0" algn="ctr"/>
            <a:r>
              <a:rPr lang="el-GR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Kozuka Gothic Pr6N B" pitchFamily="34" charset="-128"/>
                <a:cs typeface="Times New Roman" panose="02020603050405020304" pitchFamily="18" charset="0"/>
              </a:rPr>
              <a:t>ΣΠΑΜ</a:t>
            </a:r>
            <a:endParaRPr lang="en-US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Kozuka Gothic Pr6N B" pitchFamily="34" charset="-128"/>
              <a:cs typeface="Times New Roman" panose="02020603050405020304" pitchFamily="18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03F88CF-42A5-4048-8AFD-20298BD6692A}"/>
              </a:ext>
            </a:extLst>
          </p:cNvPr>
          <p:cNvSpPr txBox="1"/>
          <p:nvPr/>
        </p:nvSpPr>
        <p:spPr>
          <a:xfrm>
            <a:off x="5880654" y="2632753"/>
            <a:ext cx="1447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l-G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=9 ή 23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04CFB9D6-80D0-489F-80A6-4FE458C28682}"/>
              </a:ext>
            </a:extLst>
          </p:cNvPr>
          <p:cNvSpPr txBox="1"/>
          <p:nvPr/>
        </p:nvSpPr>
        <p:spPr>
          <a:xfrm>
            <a:off x="6934202" y="5684913"/>
            <a:ext cx="1447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l-G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=9 ή 23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EB5EE26E-15DD-4AA2-888C-1C1F79269AFE}"/>
              </a:ext>
            </a:extLst>
          </p:cNvPr>
          <p:cNvSpPr txBox="1"/>
          <p:nvPr/>
        </p:nvSpPr>
        <p:spPr>
          <a:xfrm>
            <a:off x="4234350" y="1153085"/>
            <a:ext cx="6189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και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EDDBCB08-4511-485F-BC5F-651782197C8A}"/>
              </a:ext>
            </a:extLst>
          </p:cNvPr>
          <p:cNvSpPr txBox="1"/>
          <p:nvPr/>
        </p:nvSpPr>
        <p:spPr>
          <a:xfrm>
            <a:off x="2590348" y="609600"/>
            <a:ext cx="38544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Τύποι μεθόδων πρόγνωσης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8C6560B-CB2F-4667-8331-98151D01CA60}"/>
              </a:ext>
            </a:extLst>
          </p:cNvPr>
          <p:cNvSpPr txBox="1"/>
          <p:nvPr/>
        </p:nvSpPr>
        <p:spPr>
          <a:xfrm>
            <a:off x="5770802" y="3100611"/>
            <a:ext cx="3373198" cy="1719620"/>
          </a:xfrm>
          <a:prstGeom prst="roundRect">
            <a:avLst/>
          </a:prstGeom>
          <a:gradFill flip="none" rotWithShape="1">
            <a:gsLst>
              <a:gs pos="75000">
                <a:srgbClr val="FF99FF">
                  <a:alpha val="58000"/>
                </a:srgbClr>
              </a:gs>
              <a:gs pos="32728">
                <a:srgbClr val="FF99FF">
                  <a:alpha val="64000"/>
                </a:srgbClr>
              </a:gs>
              <a:gs pos="68000">
                <a:srgbClr val="FF99FF">
                  <a:lumMod val="99000"/>
                  <a:alpha val="63000"/>
                </a:srgbClr>
              </a:gs>
              <a:gs pos="25000">
                <a:srgbClr val="FF99FF">
                  <a:alpha val="63000"/>
                </a:srgbClr>
              </a:gs>
              <a:gs pos="48000">
                <a:srgbClr val="66CCFF">
                  <a:alpha val="64000"/>
                </a:srgbClr>
              </a:gs>
              <a:gs pos="2976">
                <a:srgbClr val="66CCFF">
                  <a:alpha val="67000"/>
                </a:srgbClr>
              </a:gs>
              <a:gs pos="96000">
                <a:srgbClr val="66CCFF">
                  <a:alpha val="68000"/>
                </a:srgbClr>
              </a:gs>
            </a:gsLst>
            <a:lin ang="2700000" scaled="1"/>
            <a:tileRect/>
          </a:gra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r>
              <a:rPr lang="el-GR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όπου:</a:t>
            </a:r>
          </a:p>
          <a:p>
            <a:r>
              <a:rPr lang="el-GR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α, β: συντελεστές βαρύτητας</a:t>
            </a:r>
          </a:p>
          <a:p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x: </a:t>
            </a:r>
            <a:r>
              <a:rPr lang="el-GR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μετρήσεις</a:t>
            </a:r>
            <a:endParaRPr lang="en-US" sz="1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y: </a:t>
            </a:r>
            <a:r>
              <a:rPr lang="el-GR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μετεωρολογική πρόβλεψη</a:t>
            </a:r>
            <a:endParaRPr lang="en-US" sz="1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: </a:t>
            </a:r>
            <a:r>
              <a:rPr lang="el-GR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αναλογικό μοντέλο</a:t>
            </a:r>
          </a:p>
        </p:txBody>
      </p:sp>
      <p:sp>
        <p:nvSpPr>
          <p:cNvPr id="82117" name="Rectangle 197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graphicFrame>
        <p:nvGraphicFramePr>
          <p:cNvPr id="82116" name="Object 19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27978646"/>
              </p:ext>
            </p:extLst>
          </p:nvPr>
        </p:nvGraphicFramePr>
        <p:xfrm>
          <a:off x="2133601" y="1866900"/>
          <a:ext cx="1981201" cy="419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10" name="Εξίσωση" r:id="rId11" imgW="30784800" imgH="5791200" progId="Equation.3">
                  <p:embed/>
                </p:oleObj>
              </mc:Choice>
              <mc:Fallback>
                <p:oleObj name="Εξίσωση" r:id="rId11" imgW="30784800" imgH="5791200" progId="Equation.3">
                  <p:embed/>
                  <p:pic>
                    <p:nvPicPr>
                      <p:cNvPr id="0" name="Picture 2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3601" y="1866900"/>
                        <a:ext cx="1981201" cy="4191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119" name="Rectangle 199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graphicFrame>
        <p:nvGraphicFramePr>
          <p:cNvPr id="82118" name="Object 19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50744960"/>
              </p:ext>
            </p:extLst>
          </p:nvPr>
        </p:nvGraphicFramePr>
        <p:xfrm>
          <a:off x="2133600" y="2428568"/>
          <a:ext cx="3389434" cy="7795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11" name="Εξίσωση" r:id="rId13" imgW="45720000" imgH="10972800" progId="Equation.3">
                  <p:embed/>
                </p:oleObj>
              </mc:Choice>
              <mc:Fallback>
                <p:oleObj name="Εξίσωση" r:id="rId13" imgW="45720000" imgH="10972800" progId="Equation.3">
                  <p:embed/>
                  <p:pic>
                    <p:nvPicPr>
                      <p:cNvPr id="0" name="Picture 2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3600" y="2428568"/>
                        <a:ext cx="3389434" cy="77957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121" name="Rectangle 20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graphicFrame>
        <p:nvGraphicFramePr>
          <p:cNvPr id="82120" name="Object 20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43844286"/>
              </p:ext>
            </p:extLst>
          </p:nvPr>
        </p:nvGraphicFramePr>
        <p:xfrm>
          <a:off x="2138218" y="4949535"/>
          <a:ext cx="3657600" cy="3626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12" name="Εξίσωση" r:id="rId15" imgW="52425600" imgH="4876800" progId="Equation.3">
                  <p:embed/>
                </p:oleObj>
              </mc:Choice>
              <mc:Fallback>
                <p:oleObj name="Εξίσωση" r:id="rId15" imgW="52425600" imgH="4876800" progId="Equation.3">
                  <p:embed/>
                  <p:pic>
                    <p:nvPicPr>
                      <p:cNvPr id="0" name="Picture 2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8218" y="4949535"/>
                        <a:ext cx="3657600" cy="36260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123" name="Rectangle 20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graphicFrame>
        <p:nvGraphicFramePr>
          <p:cNvPr id="82122" name="Object 20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49946330"/>
              </p:ext>
            </p:extLst>
          </p:nvPr>
        </p:nvGraphicFramePr>
        <p:xfrm>
          <a:off x="2133600" y="5506031"/>
          <a:ext cx="4495801" cy="6963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13" name="Εξίσωση" r:id="rId17" imgW="67665600" imgH="10972800" progId="Equation.3">
                  <p:embed/>
                </p:oleObj>
              </mc:Choice>
              <mc:Fallback>
                <p:oleObj name="Εξίσωση" r:id="rId17" imgW="67665600" imgH="10972800" progId="Equation.3">
                  <p:embed/>
                  <p:pic>
                    <p:nvPicPr>
                      <p:cNvPr id="0" name="Picture 2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3600" y="5506031"/>
                        <a:ext cx="4495801" cy="6963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125" name="Rectangle 205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graphicFrame>
        <p:nvGraphicFramePr>
          <p:cNvPr id="4" name="Αντικείμενο 3">
            <a:extLst>
              <a:ext uri="{FF2B5EF4-FFF2-40B4-BE49-F238E27FC236}">
                <a16:creationId xmlns:a16="http://schemas.microsoft.com/office/drawing/2014/main" id="{C087D227-E9E7-458B-9EE4-344B64D83D2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04756994"/>
              </p:ext>
            </p:extLst>
          </p:nvPr>
        </p:nvGraphicFramePr>
        <p:xfrm>
          <a:off x="2133601" y="6391362"/>
          <a:ext cx="3819197" cy="3403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14" name="Εξίσωση" r:id="rId19" imgW="2476500" imgH="203200" progId="Equation.3">
                  <p:embed/>
                </p:oleObj>
              </mc:Choice>
              <mc:Fallback>
                <p:oleObj name="Εξίσωση" r:id="rId19" imgW="2476500" imgH="203200" progId="Equation.3">
                  <p:embed/>
                  <p:pic>
                    <p:nvPicPr>
                      <p:cNvPr id="0" name="Picture 2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3601" y="6391362"/>
                        <a:ext cx="3819197" cy="34030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896807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3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ounded Rectangle 15"/>
          <p:cNvSpPr/>
          <p:nvPr/>
        </p:nvSpPr>
        <p:spPr>
          <a:xfrm>
            <a:off x="-3346" y="747864"/>
            <a:ext cx="3432346" cy="5271936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1">
                  <a:lumMod val="50000"/>
                  <a:alpha val="34000"/>
                </a:schemeClr>
              </a:gs>
              <a:gs pos="56000">
                <a:schemeClr val="bg1">
                  <a:lumMod val="65000"/>
                  <a:alpha val="29000"/>
                </a:schemeClr>
              </a:gs>
              <a:gs pos="100000">
                <a:schemeClr val="bg1">
                  <a:lumMod val="50000"/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Wingdings" pitchFamily="2" charset="2"/>
              <a:buChar char="ü"/>
            </a:pPr>
            <a:r>
              <a:rPr lang="el-GR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Χρησιμοποιείται για την εκτίμηση της προγνωστικής ισχύος των υδρολογικών μοντέλων</a:t>
            </a:r>
          </a:p>
          <a:p>
            <a:pPr>
              <a:buFont typeface="Wingdings" pitchFamily="2" charset="2"/>
              <a:buChar char="ü"/>
            </a:pPr>
            <a:r>
              <a:rPr lang="el-GR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Τιμές από –∞ έως 1</a:t>
            </a:r>
          </a:p>
          <a:p>
            <a:pPr lvl="0">
              <a:buFont typeface="Wingdings" pitchFamily="2" charset="2"/>
              <a:buChar char="ü"/>
            </a:pPr>
            <a:r>
              <a:rPr lang="el-GR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Αν Ε=1: τέλεια αντιστοίχιση πρόγνωσης και παρατηρήσεων</a:t>
            </a:r>
          </a:p>
          <a:p>
            <a:pPr lvl="0"/>
            <a:r>
              <a:rPr lang="el-GR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Αν Ε=0:είναι σα να λαμβάνεται ως πρόγνωση η μέση τιμή των παρατηρήσεων</a:t>
            </a:r>
          </a:p>
          <a:p>
            <a:pPr lvl="0"/>
            <a:r>
              <a:rPr lang="el-GR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Αν Ε&lt;0: καλύτερα να λαμβάνεται ως πρόγνωση η μέση τιμή των παρατηρήσεων</a:t>
            </a:r>
          </a:p>
          <a:p>
            <a:pPr lvl="0">
              <a:buFont typeface="Wingdings" pitchFamily="2" charset="2"/>
              <a:buChar char="ü"/>
            </a:pPr>
            <a:r>
              <a:rPr lang="el-GR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Τύπος υπολογισμού:</a:t>
            </a:r>
          </a:p>
          <a:p>
            <a:pPr lvl="0">
              <a:buFont typeface="Wingdings" pitchFamily="2" charset="2"/>
              <a:buChar char="ü"/>
            </a:pPr>
            <a:endParaRPr lang="el-GR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lvl="0"/>
            <a:endParaRPr lang="el-GR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tabLst>
                <a:tab pos="231775" algn="l"/>
              </a:tabLst>
            </a:pPr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-9526" y="0"/>
            <a:ext cx="3438525" cy="686597"/>
          </a:xfrm>
          <a:prstGeom prst="rect">
            <a:avLst/>
          </a:prstGeom>
          <a:gradFill>
            <a:gsLst>
              <a:gs pos="51000">
                <a:srgbClr val="699E2E"/>
              </a:gs>
              <a:gs pos="0">
                <a:srgbClr val="537E25"/>
              </a:gs>
              <a:gs pos="100000">
                <a:schemeClr val="bg1">
                  <a:lumMod val="50000"/>
                  <a:alpha val="0"/>
                </a:schemeClr>
              </a:gs>
            </a:gsLst>
            <a:lin ang="0" scaled="1"/>
          </a:gradFill>
          <a:ln>
            <a:noFill/>
          </a:ln>
          <a:effectLst/>
          <a:scene3d>
            <a:camera prst="orthographicFront"/>
            <a:lightRig rig="balanced" dir="t"/>
          </a:scene3d>
          <a:sp3d extrusionH="317500"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l-GR" sz="2400" b="1" dirty="0">
                <a:latin typeface="Times New Roman" pitchFamily="18" charset="0"/>
                <a:cs typeface="Times New Roman" pitchFamily="18" charset="0"/>
              </a:rPr>
              <a:t>Συντελεστής απόδοσης</a:t>
            </a:r>
            <a:r>
              <a:rPr lang="en-US" sz="2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l-GR" sz="2400" b="1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sz="2400" b="1" dirty="0">
                <a:latin typeface="Times New Roman" pitchFamily="18" charset="0"/>
                <a:cs typeface="Times New Roman" pitchFamily="18" charset="0"/>
              </a:rPr>
              <a:t>Nash-Sutcliffe</a:t>
            </a:r>
            <a:r>
              <a:rPr lang="el-GR" sz="2400" b="1" dirty="0">
                <a:latin typeface="Times New Roman" pitchFamily="18" charset="0"/>
                <a:cs typeface="Times New Roman" pitchFamily="18" charset="0"/>
              </a:rPr>
              <a:t> </a:t>
            </a:r>
            <a:endParaRPr lang="en-US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Rounded Rectangle 17"/>
          <p:cNvSpPr/>
          <p:nvPr/>
        </p:nvSpPr>
        <p:spPr>
          <a:xfrm flipH="1">
            <a:off x="6019800" y="4953001"/>
            <a:ext cx="3124202" cy="1600200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1">
                  <a:lumMod val="50000"/>
                  <a:alpha val="34000"/>
                </a:schemeClr>
              </a:gs>
              <a:gs pos="56000">
                <a:schemeClr val="bg1">
                  <a:lumMod val="65000"/>
                  <a:alpha val="29000"/>
                </a:schemeClr>
              </a:gs>
              <a:gs pos="100000">
                <a:schemeClr val="bg1">
                  <a:lumMod val="50000"/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7013" indent="-227013" algn="r">
              <a:tabLst>
                <a:tab pos="231775" algn="l"/>
              </a:tabLst>
            </a:pPr>
            <a:r>
              <a:rPr lang="el-GR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Υπολογίζονται με βελτιστοποίηση ως προς τη μεγιστοποίηση του συντελεστή απόδοσης    </a:t>
            </a:r>
            <a:r>
              <a:rPr lang="en-US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ash</a:t>
            </a:r>
            <a:r>
              <a:rPr lang="el-GR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utcliffe</a:t>
            </a:r>
            <a:endPara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Rectangle 18"/>
          <p:cNvSpPr/>
          <p:nvPr/>
        </p:nvSpPr>
        <p:spPr>
          <a:xfrm flipH="1">
            <a:off x="5943598" y="4062962"/>
            <a:ext cx="3191299" cy="813838"/>
          </a:xfrm>
          <a:prstGeom prst="rect">
            <a:avLst/>
          </a:prstGeom>
          <a:gradFill>
            <a:gsLst>
              <a:gs pos="51000">
                <a:srgbClr val="A00000"/>
              </a:gs>
              <a:gs pos="0">
                <a:srgbClr val="A00000"/>
              </a:gs>
              <a:gs pos="100000">
                <a:schemeClr val="bg1">
                  <a:lumMod val="50000"/>
                  <a:alpha val="0"/>
                </a:schemeClr>
              </a:gs>
            </a:gsLst>
            <a:lin ang="0" scaled="1"/>
          </a:gradFill>
          <a:ln>
            <a:noFill/>
          </a:ln>
          <a:effectLst/>
          <a:scene3d>
            <a:camera prst="orthographicFront"/>
            <a:lightRig rig="balanced" dir="t"/>
          </a:scene3d>
          <a:sp3d extrusionH="317500"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l-GR" sz="2400" b="1" dirty="0">
                <a:latin typeface="Times New Roman" pitchFamily="18" charset="0"/>
                <a:cs typeface="Times New Roman" pitchFamily="18" charset="0"/>
              </a:rPr>
              <a:t>Συντελεστές βαρύτητας μεθόδων</a:t>
            </a:r>
            <a:endParaRPr lang="en-GB" sz="2400" b="1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4" name="Group 24"/>
          <p:cNvGrpSpPr/>
          <p:nvPr/>
        </p:nvGrpSpPr>
        <p:grpSpPr>
          <a:xfrm rot="4528454" flipV="1">
            <a:off x="2316520" y="2044940"/>
            <a:ext cx="4698917" cy="2681598"/>
            <a:chOff x="1525215" y="2654300"/>
            <a:chExt cx="4888285" cy="2857500"/>
          </a:xfrm>
          <a:solidFill>
            <a:srgbClr val="FFC000"/>
          </a:solidFill>
          <a:effectLst>
            <a:outerShdw blurRad="571500" dir="15780000" sx="101000" sy="101000" algn="tr" rotWithShape="0">
              <a:schemeClr val="tx1">
                <a:lumMod val="95000"/>
                <a:lumOff val="5000"/>
                <a:alpha val="28000"/>
              </a:schemeClr>
            </a:outerShdw>
          </a:effectLst>
          <a:scene3d>
            <a:camera prst="orthographicFront"/>
            <a:lightRig rig="threePt" dir="t"/>
          </a:scene3d>
        </p:grpSpPr>
        <p:sp>
          <p:nvSpPr>
            <p:cNvPr id="26" name="Circular Arrow 25"/>
            <p:cNvSpPr/>
            <p:nvPr/>
          </p:nvSpPr>
          <p:spPr>
            <a:xfrm>
              <a:off x="3619500" y="2717800"/>
              <a:ext cx="2794000" cy="2794000"/>
            </a:xfrm>
            <a:prstGeom prst="circularArrow">
              <a:avLst/>
            </a:prstGeom>
            <a:solidFill>
              <a:srgbClr val="C00000"/>
            </a:solidFill>
            <a:ln>
              <a:noFill/>
            </a:ln>
            <a:sp3d>
              <a:bevelT w="31750" h="1587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7" name="Circular Arrow 26"/>
            <p:cNvSpPr/>
            <p:nvPr/>
          </p:nvSpPr>
          <p:spPr>
            <a:xfrm flipH="1" flipV="1">
              <a:off x="1525215" y="2654300"/>
              <a:ext cx="2798064" cy="2794000"/>
            </a:xfrm>
            <a:prstGeom prst="circularArrow">
              <a:avLst/>
            </a:prstGeom>
            <a:solidFill>
              <a:srgbClr val="7AB73A"/>
            </a:solidFill>
            <a:ln>
              <a:noFill/>
            </a:ln>
            <a:sp3d>
              <a:bevelT w="31750" h="1587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4876800" y="18871"/>
            <a:ext cx="4267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Βήμα 3: Διεξαγωγή αποτελεσμάτων</a:t>
            </a:r>
            <a:endParaRPr lang="en-US" sz="3600" b="1" dirty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5779" name="Object 3"/>
          <p:cNvGraphicFramePr>
            <a:graphicFrameLocks noChangeAspect="1"/>
          </p:cNvGraphicFramePr>
          <p:nvPr/>
        </p:nvGraphicFramePr>
        <p:xfrm>
          <a:off x="228600" y="5181600"/>
          <a:ext cx="2736356" cy="838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37" name="Εξίσωση" r:id="rId7" imgW="38100000" imgH="13411200" progId="Equation.3">
                  <p:embed/>
                </p:oleObj>
              </mc:Choice>
              <mc:Fallback>
                <p:oleObj name="Εξίσωση" r:id="rId7" imgW="38100000" imgH="13411200" progId="Equation.3">
                  <p:embed/>
                  <p:pic>
                    <p:nvPicPr>
                      <p:cNvPr id="0" name="Pictur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8600" y="5181600"/>
                        <a:ext cx="2736356" cy="8381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092478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57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57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57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Γράφημα 4">
            <a:extLst>
              <a:ext uri="{FF2B5EF4-FFF2-40B4-BE49-F238E27FC236}">
                <a16:creationId xmlns:a16="http://schemas.microsoft.com/office/drawing/2014/main" id="{EC9BF059-9775-45C8-BB9A-1F3C53C119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8686007"/>
              </p:ext>
            </p:extLst>
          </p:nvPr>
        </p:nvGraphicFramePr>
        <p:xfrm>
          <a:off x="0" y="1143000"/>
          <a:ext cx="6248400" cy="4353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9" name="Ευθύγραμμο βέλος σύνδεσης 8">
            <a:extLst>
              <a:ext uri="{FF2B5EF4-FFF2-40B4-BE49-F238E27FC236}">
                <a16:creationId xmlns:a16="http://schemas.microsoft.com/office/drawing/2014/main" id="{A064C3F0-BD4E-4DB8-9962-7C052A2C9B1C}"/>
              </a:ext>
            </a:extLst>
          </p:cNvPr>
          <p:cNvCxnSpPr/>
          <p:nvPr/>
        </p:nvCxnSpPr>
        <p:spPr>
          <a:xfrm flipH="1" flipV="1">
            <a:off x="3276600" y="2430622"/>
            <a:ext cx="914400" cy="7620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Γράφημα 18">
            <a:extLst>
              <a:ext uri="{FF2B5EF4-FFF2-40B4-BE49-F238E27FC236}">
                <a16:creationId xmlns:a16="http://schemas.microsoft.com/office/drawing/2014/main" id="{744CCAD3-83EC-4FBF-9238-670D2D1964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2849706"/>
              </p:ext>
            </p:extLst>
          </p:nvPr>
        </p:nvGraphicFramePr>
        <p:xfrm>
          <a:off x="1" y="1816358"/>
          <a:ext cx="62484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610600" cy="685800"/>
          </a:xfrm>
        </p:spPr>
        <p:txBody>
          <a:bodyPr>
            <a:normAutofit/>
          </a:bodyPr>
          <a:lstStyle/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Αποτελέσματα &amp; Συμπεράσματα (1)</a:t>
            </a:r>
          </a:p>
        </p:txBody>
      </p:sp>
      <p:sp>
        <p:nvSpPr>
          <p:cNvPr id="778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0" y="685800"/>
            <a:ext cx="7086600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Για το σταθμό της ΕΜΥ: Συντελεστής απόδοσης</a:t>
            </a:r>
            <a:r>
              <a:rPr kumimoji="0" lang="el-GR" sz="2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Nash-Sutcliffe</a:t>
            </a: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</a:p>
        </p:txBody>
      </p:sp>
      <p:graphicFrame>
        <p:nvGraphicFramePr>
          <p:cNvPr id="8" name="Γράφημα 19">
            <a:extLst>
              <a:ext uri="{FF2B5EF4-FFF2-40B4-BE49-F238E27FC236}">
                <a16:creationId xmlns:a16="http://schemas.microsoft.com/office/drawing/2014/main" id="{B24CA320-9DCE-4659-909E-36EF5C25E0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513570"/>
              </p:ext>
            </p:extLst>
          </p:nvPr>
        </p:nvGraphicFramePr>
        <p:xfrm>
          <a:off x="-1" y="2506822"/>
          <a:ext cx="6248401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BB742196-6C1A-4B03-A10C-B85A3F5FAE73}"/>
              </a:ext>
            </a:extLst>
          </p:cNvPr>
          <p:cNvSpPr txBox="1"/>
          <p:nvPr/>
        </p:nvSpPr>
        <p:spPr>
          <a:xfrm>
            <a:off x="6312460" y="1143000"/>
            <a:ext cx="2806959" cy="5486400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227013" indent="-227013" algn="r">
              <a:tabLst>
                <a:tab pos="231775" algn="l"/>
              </a:tabLst>
              <a:defRPr sz="200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el-GR" dirty="0"/>
              <a:t>Η μετεωρολογική πρόβλεψη δίνει καλύτερα αποτελέσματα για μεγαλύτερο χρονικό βάθος πρόγνωσης, ενώ το αντίθετο συμβαίνει με τα στοχαστικά μοντέλα πρόβλεψης. 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el-GR" dirty="0"/>
              <a:t>Όπως είναι αναμενόμενο οι  μέθοδοι συνδυασμού μετεωρολογικής πρόβλεψης και μετρήσεων δίνουν τα καλύτερα αποτελέσματα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Graphic spid="8" grpId="0">
        <p:bldAsOne/>
      </p:bldGraphic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38200"/>
          </a:xfrm>
        </p:spPr>
        <p:txBody>
          <a:bodyPr>
            <a:normAutofit/>
          </a:bodyPr>
          <a:lstStyle/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Αποτελέσματα &amp; Συμπεράσματα (2)</a:t>
            </a:r>
          </a:p>
        </p:txBody>
      </p:sp>
      <p:sp>
        <p:nvSpPr>
          <p:cNvPr id="778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0" y="762000"/>
            <a:ext cx="91440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Για το σταθμό της ΕΜΥ: Σύγκριση συντελεστών απόδοσης μετεωρολογικής πρόβλεψης και μεθόδων ΣΜ24,</a:t>
            </a:r>
            <a:r>
              <a:rPr kumimoji="0" lang="el-GR" sz="36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ΣΠΜ24</a:t>
            </a:r>
            <a:endParaRPr kumimoji="0" lang="el-GR" sz="3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83972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83976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83978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graphicFrame>
        <p:nvGraphicFramePr>
          <p:cNvPr id="15" name="Γράφημα 5">
            <a:extLst>
              <a:ext uri="{FF2B5EF4-FFF2-40B4-BE49-F238E27FC236}">
                <a16:creationId xmlns:a16="http://schemas.microsoft.com/office/drawing/2014/main" id="{5B4B9543-C562-4AA8-953F-4BA2D0E0BAE9}"/>
              </a:ext>
            </a:extLst>
          </p:cNvPr>
          <p:cNvGraphicFramePr/>
          <p:nvPr/>
        </p:nvGraphicFramePr>
        <p:xfrm>
          <a:off x="0" y="1524000"/>
          <a:ext cx="5274310" cy="35121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Γράφημα 6">
            <a:extLst>
              <a:ext uri="{FF2B5EF4-FFF2-40B4-BE49-F238E27FC236}">
                <a16:creationId xmlns:a16="http://schemas.microsoft.com/office/drawing/2014/main" id="{D1354949-7AFA-4F6E-9992-3B09B748E92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3905362"/>
              </p:ext>
            </p:extLst>
          </p:nvPr>
        </p:nvGraphicFramePr>
        <p:xfrm>
          <a:off x="1828800" y="2362200"/>
          <a:ext cx="527431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" name="Γράφημα 9">
            <a:extLst>
              <a:ext uri="{FF2B5EF4-FFF2-40B4-BE49-F238E27FC236}">
                <a16:creationId xmlns:a16="http://schemas.microsoft.com/office/drawing/2014/main" id="{78A8C112-798B-4D6C-8619-C1BCC3AEBE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344034"/>
              </p:ext>
            </p:extLst>
          </p:nvPr>
        </p:nvGraphicFramePr>
        <p:xfrm>
          <a:off x="3962400" y="3345872"/>
          <a:ext cx="5181600" cy="3512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6" grpId="0">
        <p:bldAsOne/>
      </p:bldGraphic>
      <p:bldGraphic spid="17" grpId="0">
        <p:bldAsOne/>
      </p:bldGraphic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38200"/>
          </a:xfrm>
        </p:spPr>
        <p:txBody>
          <a:bodyPr>
            <a:normAutofit/>
          </a:bodyPr>
          <a:lstStyle/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Αποτελέσματα &amp; Συμπεράσματα (3)</a:t>
            </a:r>
          </a:p>
        </p:txBody>
      </p:sp>
      <p:sp>
        <p:nvSpPr>
          <p:cNvPr id="778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0" y="838200"/>
            <a:ext cx="91440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/>
          <a:p>
            <a:pPr lvl="0">
              <a:spcBef>
                <a:spcPct val="0"/>
              </a:spcBef>
              <a:defRPr/>
            </a:pP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Για το σταθμό της ΕΜΥ: </a:t>
            </a:r>
            <a:r>
              <a:rPr lang="el-GR" sz="3600" b="1" dirty="0">
                <a:latin typeface="Times New Roman" pitchFamily="18" charset="0"/>
                <a:ea typeface="+mj-ea"/>
                <a:cs typeface="Times New Roman" pitchFamily="18" charset="0"/>
              </a:rPr>
              <a:t>Σύγκριση των τιμών μέτρησης, μετεωρολογικής πρόβλεψης και μεθόδων ΣΜ24 και ΣΠΜ24 (για 3ωρη και 12ωρη πρόγνωση)</a:t>
            </a:r>
            <a:endParaRPr kumimoji="0" lang="el-GR" sz="3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83972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83976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83978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graphicFrame>
        <p:nvGraphicFramePr>
          <p:cNvPr id="10" name="Γράφημα 9">
            <a:extLst>
              <a:ext uri="{FF2B5EF4-FFF2-40B4-BE49-F238E27FC236}">
                <a16:creationId xmlns:a16="http://schemas.microsoft.com/office/drawing/2014/main" id="{7BE000D2-1E56-46C4-B7B8-7EC50166F81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5512041"/>
              </p:ext>
            </p:extLst>
          </p:nvPr>
        </p:nvGraphicFramePr>
        <p:xfrm>
          <a:off x="228600" y="1523999"/>
          <a:ext cx="7391401" cy="46482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Γράφημα 10">
            <a:extLst>
              <a:ext uri="{FF2B5EF4-FFF2-40B4-BE49-F238E27FC236}">
                <a16:creationId xmlns:a16="http://schemas.microsoft.com/office/drawing/2014/main" id="{77B644CA-C439-46F9-A3AA-406A90FAB6A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4466124"/>
              </p:ext>
            </p:extLst>
          </p:nvPr>
        </p:nvGraphicFramePr>
        <p:xfrm>
          <a:off x="1524000" y="1981199"/>
          <a:ext cx="7391399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0552002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694316"/>
          </a:xfrm>
        </p:spPr>
        <p:txBody>
          <a:bodyPr>
            <a:normAutofit/>
          </a:bodyPr>
          <a:lstStyle/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Δομή παρουσίασης</a:t>
            </a:r>
            <a:endParaRPr lang="en-US" sz="36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571500" y="-381000"/>
            <a:ext cx="8001000" cy="8001000"/>
            <a:chOff x="762000" y="-380773"/>
            <a:chExt cx="7620000" cy="7619773"/>
          </a:xfrm>
          <a:solidFill>
            <a:schemeClr val="bg1"/>
          </a:solidFill>
          <a:scene3d>
            <a:camera prst="isometricTopUp">
              <a:rot lat="19632132" lon="19192752" rev="3436056"/>
            </a:camera>
            <a:lightRig rig="threePt" dir="t"/>
          </a:scene3d>
        </p:grpSpPr>
        <p:sp>
          <p:nvSpPr>
            <p:cNvPr id="21" name="Oval 20"/>
            <p:cNvSpPr/>
            <p:nvPr/>
          </p:nvSpPr>
          <p:spPr>
            <a:xfrm>
              <a:off x="931210" y="3842645"/>
              <a:ext cx="3176387" cy="3052804"/>
            </a:xfrm>
            <a:custGeom>
              <a:avLst/>
              <a:gdLst/>
              <a:ahLst/>
              <a:cxnLst/>
              <a:rect l="l" t="t" r="r" b="b"/>
              <a:pathLst>
                <a:path w="3176387" h="3052804">
                  <a:moveTo>
                    <a:pt x="2657239" y="0"/>
                  </a:moveTo>
                  <a:cubicBezTo>
                    <a:pt x="2757877" y="239217"/>
                    <a:pt x="2943287" y="433982"/>
                    <a:pt x="3176387" y="545640"/>
                  </a:cubicBezTo>
                  <a:lnTo>
                    <a:pt x="2060125" y="3052804"/>
                  </a:lnTo>
                  <a:cubicBezTo>
                    <a:pt x="1079224" y="2606012"/>
                    <a:pt x="321792" y="1754610"/>
                    <a:pt x="0" y="71200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8206"/>
                </a:gs>
                <a:gs pos="100000">
                  <a:srgbClr val="99D927"/>
                </a:gs>
              </a:gsLst>
              <a:lin ang="18600000" scaled="0"/>
              <a:tileRect/>
            </a:gradFill>
            <a:ln w="12700">
              <a:noFill/>
            </a:ln>
            <a:sp3d extrusionH="203200">
              <a:bevelT w="63500" h="38100"/>
              <a:bevelB w="381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9" name="Oval 20"/>
            <p:cNvSpPr/>
            <p:nvPr/>
          </p:nvSpPr>
          <p:spPr>
            <a:xfrm>
              <a:off x="762000" y="1309401"/>
              <a:ext cx="2869214" cy="3094185"/>
            </a:xfrm>
            <a:custGeom>
              <a:avLst/>
              <a:gdLst/>
              <a:ahLst/>
              <a:cxnLst/>
              <a:rect l="l" t="t" r="r" b="b"/>
              <a:pathLst>
                <a:path w="2869214" h="3094185">
                  <a:moveTo>
                    <a:pt x="643888" y="0"/>
                  </a:moveTo>
                  <a:lnTo>
                    <a:pt x="2869214" y="1616794"/>
                  </a:lnTo>
                  <a:cubicBezTo>
                    <a:pt x="2788709" y="1766498"/>
                    <a:pt x="2743200" y="1937735"/>
                    <a:pt x="2743200" y="2119600"/>
                  </a:cubicBezTo>
                  <a:cubicBezTo>
                    <a:pt x="2743200" y="2210907"/>
                    <a:pt x="2754671" y="2299534"/>
                    <a:pt x="2777524" y="2383795"/>
                  </a:cubicBezTo>
                  <a:lnTo>
                    <a:pt x="126312" y="3094185"/>
                  </a:lnTo>
                  <a:cubicBezTo>
                    <a:pt x="43729" y="2783200"/>
                    <a:pt x="0" y="2456507"/>
                    <a:pt x="0" y="2119600"/>
                  </a:cubicBezTo>
                  <a:cubicBezTo>
                    <a:pt x="0" y="1335038"/>
                    <a:pt x="237140" y="605863"/>
                    <a:pt x="643888" y="0"/>
                  </a:cubicBezTo>
                  <a:close/>
                </a:path>
              </a:pathLst>
            </a:custGeom>
            <a:gradFill>
              <a:gsLst>
                <a:gs pos="0">
                  <a:srgbClr val="00297A"/>
                </a:gs>
                <a:gs pos="100000">
                  <a:srgbClr val="0070C0"/>
                </a:gs>
              </a:gsLst>
              <a:lin ang="16200000" scaled="1"/>
            </a:gradFill>
            <a:ln w="12700">
              <a:noFill/>
            </a:ln>
            <a:sp3d extrusionH="203200">
              <a:bevelT w="63500" h="38100"/>
              <a:bevelB w="381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0" name="Oval 20"/>
            <p:cNvSpPr/>
            <p:nvPr/>
          </p:nvSpPr>
          <p:spPr>
            <a:xfrm>
              <a:off x="3132771" y="4388724"/>
              <a:ext cx="3148562" cy="2850276"/>
            </a:xfrm>
            <a:custGeom>
              <a:avLst/>
              <a:gdLst/>
              <a:ahLst/>
              <a:cxnLst/>
              <a:rect l="l" t="t" r="r" b="b"/>
              <a:pathLst>
                <a:path w="3148562" h="2850276">
                  <a:moveTo>
                    <a:pt x="1902722" y="0"/>
                  </a:moveTo>
                  <a:lnTo>
                    <a:pt x="3148562" y="2445099"/>
                  </a:lnTo>
                  <a:cubicBezTo>
                    <a:pt x="2634844" y="2704651"/>
                    <a:pt x="2054043" y="2850276"/>
                    <a:pt x="1439229" y="2850276"/>
                  </a:cubicBezTo>
                  <a:cubicBezTo>
                    <a:pt x="929847" y="2850276"/>
                    <a:pt x="443813" y="2750314"/>
                    <a:pt x="0" y="2568135"/>
                  </a:cubicBezTo>
                  <a:lnTo>
                    <a:pt x="1117776" y="57571"/>
                  </a:lnTo>
                  <a:cubicBezTo>
                    <a:pt x="1219171" y="89802"/>
                    <a:pt x="1327183" y="107076"/>
                    <a:pt x="1439229" y="107076"/>
                  </a:cubicBezTo>
                  <a:cubicBezTo>
                    <a:pt x="1605544" y="107076"/>
                    <a:pt x="1762969" y="69018"/>
                    <a:pt x="1902722" y="0"/>
                  </a:cubicBezTo>
                  <a:close/>
                </a:path>
              </a:pathLst>
            </a:custGeom>
            <a:gradFill>
              <a:gsLst>
                <a:gs pos="0">
                  <a:schemeClr val="accent4">
                    <a:shade val="51000"/>
                    <a:satMod val="130000"/>
                  </a:schemeClr>
                </a:gs>
                <a:gs pos="80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 w="12700">
              <a:noFill/>
            </a:ln>
            <a:sp3d extrusionH="203200">
              <a:bevelT w="63500" h="38100"/>
              <a:bevelB w="381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1" name="Oval 20"/>
            <p:cNvSpPr/>
            <p:nvPr/>
          </p:nvSpPr>
          <p:spPr>
            <a:xfrm>
              <a:off x="5160081" y="3661641"/>
              <a:ext cx="3136375" cy="3106096"/>
            </a:xfrm>
            <a:custGeom>
              <a:avLst/>
              <a:gdLst/>
              <a:ahLst/>
              <a:cxnLst/>
              <a:rect l="l" t="t" r="r" b="b"/>
              <a:pathLst>
                <a:path w="3136375" h="3106096">
                  <a:moveTo>
                    <a:pt x="452510" y="0"/>
                  </a:moveTo>
                  <a:lnTo>
                    <a:pt x="3136375" y="570473"/>
                  </a:lnTo>
                  <a:cubicBezTo>
                    <a:pt x="2902565" y="1663466"/>
                    <a:pt x="2199334" y="2582325"/>
                    <a:pt x="1247848" y="3106096"/>
                  </a:cubicBezTo>
                  <a:lnTo>
                    <a:pt x="0" y="657056"/>
                  </a:lnTo>
                  <a:cubicBezTo>
                    <a:pt x="226554" y="507518"/>
                    <a:pt x="392378" y="273613"/>
                    <a:pt x="452510" y="0"/>
                  </a:cubicBezTo>
                  <a:close/>
                </a:path>
              </a:pathLst>
            </a:custGeom>
            <a:gradFill>
              <a:gsLst>
                <a:gs pos="0">
                  <a:srgbClr val="E94343"/>
                </a:gs>
                <a:gs pos="100000">
                  <a:srgbClr val="C00000"/>
                </a:gs>
              </a:gsLst>
              <a:path path="circle">
                <a:fillToRect l="50000" t="50000" r="50000" b="50000"/>
              </a:path>
            </a:gradFill>
            <a:ln w="12700">
              <a:noFill/>
            </a:ln>
            <a:sp3d extrusionH="203200">
              <a:bevelT w="63500" h="38100"/>
              <a:bevelB w="381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" name="Oval 20"/>
            <p:cNvSpPr/>
            <p:nvPr/>
          </p:nvSpPr>
          <p:spPr>
            <a:xfrm>
              <a:off x="5395832" y="1025515"/>
              <a:ext cx="2986168" cy="3054948"/>
            </a:xfrm>
            <a:custGeom>
              <a:avLst/>
              <a:gdLst/>
              <a:ahLst/>
              <a:cxnLst/>
              <a:rect l="l" t="t" r="r" b="b"/>
              <a:pathLst>
                <a:path w="2986168" h="3054948">
                  <a:moveTo>
                    <a:pt x="2131127" y="0"/>
                  </a:moveTo>
                  <a:cubicBezTo>
                    <a:pt x="2666007" y="655042"/>
                    <a:pt x="2986168" y="1491875"/>
                    <a:pt x="2986168" y="2403485"/>
                  </a:cubicBezTo>
                  <a:cubicBezTo>
                    <a:pt x="2986168" y="2625658"/>
                    <a:pt x="2967152" y="2843388"/>
                    <a:pt x="2929547" y="3054948"/>
                  </a:cubicBezTo>
                  <a:lnTo>
                    <a:pt x="238951" y="2483044"/>
                  </a:lnTo>
                  <a:cubicBezTo>
                    <a:pt x="241981" y="2456831"/>
                    <a:pt x="242968" y="2430273"/>
                    <a:pt x="242968" y="2403485"/>
                  </a:cubicBezTo>
                  <a:cubicBezTo>
                    <a:pt x="242968" y="2146102"/>
                    <a:pt x="151819" y="1910007"/>
                    <a:pt x="0" y="172575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5">
                    <a:lumMod val="75000"/>
                    <a:shade val="30000"/>
                    <a:satMod val="115000"/>
                  </a:schemeClr>
                </a:gs>
                <a:gs pos="50000">
                  <a:schemeClr val="accent5">
                    <a:lumMod val="75000"/>
                    <a:shade val="67500"/>
                    <a:satMod val="115000"/>
                  </a:schemeClr>
                </a:gs>
                <a:gs pos="100000">
                  <a:schemeClr val="accent5">
                    <a:lumMod val="75000"/>
                    <a:shade val="100000"/>
                    <a:satMod val="115000"/>
                  </a:schemeClr>
                </a:gs>
              </a:gsLst>
              <a:lin ang="8100000" scaled="1"/>
              <a:tileRect/>
            </a:gradFill>
            <a:ln w="12700">
              <a:noFill/>
            </a:ln>
            <a:sp3d extrusionH="203200">
              <a:bevelT w="63500" h="38100"/>
              <a:bevelB w="381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3" name="Oval 20"/>
            <p:cNvSpPr/>
            <p:nvPr/>
          </p:nvSpPr>
          <p:spPr>
            <a:xfrm>
              <a:off x="4580930" y="-380773"/>
              <a:ext cx="2856349" cy="3033241"/>
            </a:xfrm>
            <a:custGeom>
              <a:avLst/>
              <a:gdLst/>
              <a:ahLst/>
              <a:cxnLst/>
              <a:rect l="l" t="t" r="r" b="b"/>
              <a:pathLst>
                <a:path w="2856349" h="3033241">
                  <a:moveTo>
                    <a:pt x="0" y="0"/>
                  </a:moveTo>
                  <a:cubicBezTo>
                    <a:pt x="1140104" y="2400"/>
                    <a:pt x="2162576" y="505781"/>
                    <a:pt x="2856349" y="1304066"/>
                  </a:cubicBezTo>
                  <a:lnTo>
                    <a:pt x="720996" y="3033241"/>
                  </a:lnTo>
                  <a:cubicBezTo>
                    <a:pt x="532840" y="2854846"/>
                    <a:pt x="279204" y="2745301"/>
                    <a:pt x="0" y="2743425"/>
                  </a:cubicBezTo>
                  <a:close/>
                </a:path>
              </a:pathLst>
            </a:custGeom>
            <a:gradFill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 w="12700">
              <a:noFill/>
            </a:ln>
            <a:sp3d extrusionH="203200">
              <a:bevelT w="63500" h="38100"/>
              <a:bevelB w="381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" name="Oval 20"/>
            <p:cNvSpPr/>
            <p:nvPr/>
          </p:nvSpPr>
          <p:spPr>
            <a:xfrm>
              <a:off x="1497827" y="-367450"/>
              <a:ext cx="2908900" cy="3163194"/>
            </a:xfrm>
            <a:custGeom>
              <a:avLst/>
              <a:gdLst/>
              <a:ahLst/>
              <a:cxnLst/>
              <a:rect l="l" t="t" r="r" b="b"/>
              <a:pathLst>
                <a:path w="2908900" h="3163194">
                  <a:moveTo>
                    <a:pt x="2765107" y="0"/>
                  </a:moveTo>
                  <a:lnTo>
                    <a:pt x="2908900" y="2743735"/>
                  </a:lnTo>
                  <a:cubicBezTo>
                    <a:pt x="2625592" y="2786495"/>
                    <a:pt x="2379340" y="2941906"/>
                    <a:pt x="2217083" y="3163194"/>
                  </a:cubicBezTo>
                  <a:lnTo>
                    <a:pt x="0" y="1552389"/>
                  </a:lnTo>
                  <a:cubicBezTo>
                    <a:pt x="632641" y="680140"/>
                    <a:pt x="1628454" y="90080"/>
                    <a:pt x="2765107" y="0"/>
                  </a:cubicBezTo>
                  <a:close/>
                </a:path>
              </a:pathLst>
            </a:custGeom>
            <a:gradFill>
              <a:gsLst>
                <a:gs pos="0">
                  <a:schemeClr val="accent6">
                    <a:lumMod val="75000"/>
                  </a:schemeClr>
                </a:gs>
                <a:gs pos="100000">
                  <a:srgbClr val="FFC000"/>
                </a:gs>
              </a:gsLst>
              <a:lin ang="3600000" scaled="0"/>
            </a:gradFill>
            <a:ln w="12700">
              <a:noFill/>
            </a:ln>
            <a:sp3d extrusionH="203200">
              <a:bevelT w="63500" h="38100"/>
              <a:bevelB w="381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2534714" y="1407841"/>
            <a:ext cx="2098922" cy="1107996"/>
          </a:xfrm>
          <a:prstGeom prst="rect">
            <a:avLst/>
          </a:prstGeom>
          <a:noFill/>
          <a:scene3d>
            <a:camera prst="orthographicFront">
              <a:rot lat="20196051" lon="1312816" rev="21056291"/>
            </a:camera>
            <a:lightRig rig="threePt" dir="t"/>
          </a:scene3d>
        </p:spPr>
        <p:txBody>
          <a:bodyPr wrap="square" rtlCol="0">
            <a:spAutoFit/>
          </a:bodyPr>
          <a:lstStyle/>
          <a:p>
            <a:pPr algn="ctr"/>
            <a:r>
              <a:rPr lang="el-GR" sz="2200" b="1" dirty="0">
                <a:solidFill>
                  <a:prstClr val="white"/>
                </a:solidFill>
                <a:effectLst>
                  <a:outerShdw blurRad="381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ozuka Gothic Pro M" pitchFamily="34" charset="-128"/>
                <a:cs typeface="Times New Roman" panose="02020603050405020304" pitchFamily="18" charset="0"/>
              </a:rPr>
              <a:t>7. Προτάσεις για περαιτέρω μελέτη</a:t>
            </a:r>
            <a:endParaRPr lang="en-US" sz="2200" b="1" dirty="0">
              <a:solidFill>
                <a:prstClr val="white"/>
              </a:solidFill>
              <a:effectLst>
                <a:outerShdw blurRad="38100" dist="38100" dir="2700000" algn="tl" rotWithShape="0">
                  <a:prstClr val="black">
                    <a:alpha val="40000"/>
                  </a:prstClr>
                </a:outerShdw>
              </a:effectLst>
              <a:latin typeface="Times New Roman" panose="02020603050405020304" pitchFamily="18" charset="0"/>
              <a:ea typeface="Kozuka Gothic Pro M" pitchFamily="34" charset="-128"/>
              <a:cs typeface="Times New Roman" panose="02020603050405020304" pitchFamily="18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689687" y="4563911"/>
            <a:ext cx="1856402" cy="430887"/>
          </a:xfrm>
          <a:prstGeom prst="rect">
            <a:avLst/>
          </a:prstGeom>
          <a:noFill/>
          <a:scene3d>
            <a:camera prst="orthographicFront">
              <a:rot lat="20196051" lon="1312816" rev="21056291"/>
            </a:camera>
            <a:lightRig rig="threePt" dir="t"/>
          </a:scene3d>
        </p:spPr>
        <p:txBody>
          <a:bodyPr wrap="square" rtlCol="0">
            <a:spAutoFit/>
          </a:bodyPr>
          <a:lstStyle/>
          <a:p>
            <a:pPr algn="ctr"/>
            <a:r>
              <a:rPr lang="el-GR" sz="2200" b="1" dirty="0">
                <a:solidFill>
                  <a:prstClr val="white"/>
                </a:solidFill>
                <a:effectLst>
                  <a:outerShdw blurRad="381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ozuka Gothic Pro M" pitchFamily="34" charset="-128"/>
                <a:cs typeface="Times New Roman" panose="02020603050405020304" pitchFamily="18" charset="0"/>
              </a:rPr>
              <a:t>3. Εισαγωγή</a:t>
            </a:r>
            <a:endParaRPr lang="en-US" sz="2200" b="1" dirty="0">
              <a:solidFill>
                <a:prstClr val="white"/>
              </a:solidFill>
              <a:effectLst>
                <a:outerShdw blurRad="38100" dist="38100" dir="2700000" algn="tl" rotWithShape="0">
                  <a:prstClr val="black">
                    <a:alpha val="40000"/>
                  </a:prstClr>
                </a:outerShdw>
              </a:effectLst>
              <a:latin typeface="Times New Roman" panose="02020603050405020304" pitchFamily="18" charset="0"/>
              <a:ea typeface="Kozuka Gothic Pro M" pitchFamily="34" charset="-128"/>
              <a:cs typeface="Times New Roman" panose="02020603050405020304" pitchFamily="18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481648" y="2841848"/>
            <a:ext cx="1770182" cy="1107996"/>
          </a:xfrm>
          <a:prstGeom prst="rect">
            <a:avLst/>
          </a:prstGeom>
          <a:noFill/>
          <a:scene3d>
            <a:camera prst="orthographicFront">
              <a:rot lat="20196051" lon="1312816" rev="21056291"/>
            </a:camera>
            <a:lightRig rig="threePt" dir="t"/>
          </a:scene3d>
        </p:spPr>
        <p:txBody>
          <a:bodyPr wrap="square" rtlCol="0">
            <a:spAutoFit/>
          </a:bodyPr>
          <a:lstStyle/>
          <a:p>
            <a:pPr algn="ctr"/>
            <a:r>
              <a:rPr lang="el-GR" sz="2200" b="1" dirty="0">
                <a:solidFill>
                  <a:prstClr val="white"/>
                </a:solidFill>
                <a:effectLst>
                  <a:outerShdw blurRad="381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ozuka Gothic Pro M" pitchFamily="34" charset="-128"/>
                <a:cs typeface="Times New Roman" panose="02020603050405020304" pitchFamily="18" charset="0"/>
              </a:rPr>
              <a:t>2. Εμπόδια κατά της εκπόνηση</a:t>
            </a:r>
            <a:endParaRPr lang="en-US" sz="2200" b="1" dirty="0">
              <a:solidFill>
                <a:prstClr val="white"/>
              </a:solidFill>
              <a:effectLst>
                <a:outerShdw blurRad="38100" dist="38100" dir="2700000" algn="tl" rotWithShape="0">
                  <a:prstClr val="black">
                    <a:alpha val="40000"/>
                  </a:prstClr>
                </a:outerShdw>
              </a:effectLst>
              <a:latin typeface="Times New Roman" panose="02020603050405020304" pitchFamily="18" charset="0"/>
              <a:ea typeface="Kozuka Gothic Pro M" pitchFamily="34" charset="-128"/>
              <a:cs typeface="Times New Roman" panose="02020603050405020304" pitchFamily="18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682841" y="1437608"/>
            <a:ext cx="2430763" cy="1446550"/>
          </a:xfrm>
          <a:prstGeom prst="rect">
            <a:avLst/>
          </a:prstGeom>
          <a:noFill/>
          <a:scene3d>
            <a:camera prst="orthographicFront">
              <a:rot lat="20196051" lon="1312816" rev="21056291"/>
            </a:camera>
            <a:lightRig rig="threePt" dir="t"/>
          </a:scene3d>
        </p:spPr>
        <p:txBody>
          <a:bodyPr wrap="square" rtlCol="0">
            <a:spAutoFit/>
          </a:bodyPr>
          <a:lstStyle/>
          <a:p>
            <a:pPr algn="ctr"/>
            <a:r>
              <a:rPr lang="el-GR" sz="2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Kozuka Gothic Pro M" pitchFamily="34" charset="-128"/>
                <a:cs typeface="Times New Roman" panose="02020603050405020304" pitchFamily="18" charset="0"/>
              </a:rPr>
              <a:t>1. Στόχος μελέτης και βήματα εκπόνησης εργασίας</a:t>
            </a:r>
            <a:endParaRPr lang="en-US" sz="2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Kozuka Gothic Pro M" pitchFamily="34" charset="-128"/>
              <a:cs typeface="Times New Roman" panose="02020603050405020304" pitchFamily="18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443672" y="5162902"/>
            <a:ext cx="1909582" cy="430887"/>
          </a:xfrm>
          <a:prstGeom prst="rect">
            <a:avLst/>
          </a:prstGeom>
          <a:noFill/>
          <a:scene3d>
            <a:camera prst="orthographicFront">
              <a:rot lat="20196051" lon="1312816" rev="21056291"/>
            </a:camera>
            <a:lightRig rig="threePt" dir="t"/>
          </a:scene3d>
        </p:spPr>
        <p:txBody>
          <a:bodyPr wrap="square" rtlCol="0">
            <a:spAutoFit/>
          </a:bodyPr>
          <a:lstStyle/>
          <a:p>
            <a:pPr algn="ctr"/>
            <a:r>
              <a:rPr lang="el-GR" sz="2200" b="1" dirty="0">
                <a:solidFill>
                  <a:prstClr val="white"/>
                </a:solidFill>
                <a:effectLst>
                  <a:outerShdw blurRad="381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ozuka Gothic Pro M" pitchFamily="34" charset="-128"/>
                <a:cs typeface="Times New Roman" panose="02020603050405020304" pitchFamily="18" charset="0"/>
              </a:rPr>
              <a:t>4. Δεδομένα</a:t>
            </a:r>
            <a:endParaRPr lang="en-US" sz="2200" b="1" dirty="0">
              <a:solidFill>
                <a:prstClr val="white"/>
              </a:solidFill>
              <a:effectLst>
                <a:outerShdw blurRad="38100" dist="38100" dir="2700000" algn="tl" rotWithShape="0">
                  <a:prstClr val="black">
                    <a:alpha val="40000"/>
                  </a:prstClr>
                </a:outerShdw>
              </a:effectLst>
              <a:latin typeface="Times New Roman" panose="02020603050405020304" pitchFamily="18" charset="0"/>
              <a:ea typeface="Kozuka Gothic Pro M" pitchFamily="34" charset="-128"/>
              <a:cs typeface="Times New Roman" panose="02020603050405020304" pitchFamily="18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288856" y="4499219"/>
            <a:ext cx="2135110" cy="430887"/>
          </a:xfrm>
          <a:prstGeom prst="rect">
            <a:avLst/>
          </a:prstGeom>
          <a:noFill/>
          <a:scene3d>
            <a:camera prst="orthographicFront">
              <a:rot lat="20196051" lon="1312816" rev="21056291"/>
            </a:camera>
            <a:lightRig rig="threePt" dir="t"/>
          </a:scene3d>
        </p:spPr>
        <p:txBody>
          <a:bodyPr wrap="square" rtlCol="0">
            <a:spAutoFit/>
          </a:bodyPr>
          <a:lstStyle/>
          <a:p>
            <a:pPr algn="ctr"/>
            <a:r>
              <a:rPr lang="el-GR" sz="2200" b="1" dirty="0">
                <a:solidFill>
                  <a:prstClr val="white"/>
                </a:solidFill>
                <a:effectLst>
                  <a:outerShdw blurRad="381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ozuka Gothic Pro M" pitchFamily="34" charset="-128"/>
                <a:cs typeface="Times New Roman" panose="02020603050405020304" pitchFamily="18" charset="0"/>
              </a:rPr>
              <a:t>5. Μεθοδολογία</a:t>
            </a:r>
            <a:endParaRPr lang="en-US" sz="2200" b="1" dirty="0">
              <a:solidFill>
                <a:prstClr val="white"/>
              </a:solidFill>
              <a:effectLst>
                <a:outerShdw blurRad="38100" dist="38100" dir="2700000" algn="tl" rotWithShape="0">
                  <a:prstClr val="black">
                    <a:alpha val="40000"/>
                  </a:prstClr>
                </a:outerShdw>
              </a:effectLst>
              <a:latin typeface="Times New Roman" panose="02020603050405020304" pitchFamily="18" charset="0"/>
              <a:ea typeface="Kozuka Gothic Pro M" pitchFamily="34" charset="-128"/>
              <a:cs typeface="Times New Roman" panose="02020603050405020304" pitchFamily="18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779734" y="2590800"/>
            <a:ext cx="2208820" cy="1107996"/>
          </a:xfrm>
          <a:prstGeom prst="rect">
            <a:avLst/>
          </a:prstGeom>
          <a:noFill/>
          <a:scene3d>
            <a:camera prst="orthographicFront">
              <a:rot lat="20196051" lon="1312816" rev="21056291"/>
            </a:camera>
            <a:lightRig rig="threePt" dir="t"/>
          </a:scene3d>
        </p:spPr>
        <p:txBody>
          <a:bodyPr wrap="square" rtlCol="0">
            <a:spAutoFit/>
          </a:bodyPr>
          <a:lstStyle/>
          <a:p>
            <a:pPr algn="ctr"/>
            <a:r>
              <a:rPr lang="el-GR" sz="2200" b="1" dirty="0">
                <a:solidFill>
                  <a:prstClr val="white"/>
                </a:solidFill>
                <a:effectLst>
                  <a:outerShdw blurRad="381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ea typeface="Kozuka Gothic Pro M" pitchFamily="34" charset="-128"/>
                <a:cs typeface="Times New Roman" panose="02020603050405020304" pitchFamily="18" charset="0"/>
              </a:rPr>
              <a:t>6. Αποτελέσματα &amp; Συμπεράσματα</a:t>
            </a:r>
            <a:endParaRPr lang="en-US" sz="2200" b="1" dirty="0">
              <a:solidFill>
                <a:prstClr val="white"/>
              </a:solidFill>
              <a:effectLst>
                <a:outerShdw blurRad="38100" dist="38100" dir="2700000" algn="tl" rotWithShape="0">
                  <a:prstClr val="black">
                    <a:alpha val="40000"/>
                  </a:prstClr>
                </a:outerShdw>
              </a:effectLst>
              <a:latin typeface="Times New Roman" panose="02020603050405020304" pitchFamily="18" charset="0"/>
              <a:ea typeface="Kozuka Gothic Pro M" pitchFamily="34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6332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Γράφημα 10">
            <a:extLst>
              <a:ext uri="{FF2B5EF4-FFF2-40B4-BE49-F238E27FC236}">
                <a16:creationId xmlns:a16="http://schemas.microsoft.com/office/drawing/2014/main" id="{DC146C92-98FE-460A-8EFA-DC3DE4AB3A7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9079018"/>
              </p:ext>
            </p:extLst>
          </p:nvPr>
        </p:nvGraphicFramePr>
        <p:xfrm>
          <a:off x="228600" y="1523999"/>
          <a:ext cx="7467601" cy="46482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38200"/>
          </a:xfrm>
        </p:spPr>
        <p:txBody>
          <a:bodyPr>
            <a:normAutofit/>
          </a:bodyPr>
          <a:lstStyle/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Αποτελέσματα &amp; Συμπεράσματα (3)</a:t>
            </a:r>
          </a:p>
        </p:txBody>
      </p:sp>
      <p:sp>
        <p:nvSpPr>
          <p:cNvPr id="778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0" y="762000"/>
            <a:ext cx="91440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/>
          <a:p>
            <a:pPr>
              <a:spcBef>
                <a:spcPct val="0"/>
              </a:spcBef>
              <a:defRPr/>
            </a:pP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Για το σταθμό της ΕΜΥ: </a:t>
            </a:r>
            <a:r>
              <a:rPr lang="el-GR" sz="3600" b="1" dirty="0">
                <a:latin typeface="Times New Roman" pitchFamily="18" charset="0"/>
                <a:ea typeface="+mj-ea"/>
                <a:cs typeface="Times New Roman" pitchFamily="18" charset="0"/>
              </a:rPr>
              <a:t>Σύγκριση των τιμών μέτρησης, μετεωρολογικής πρόβλεψης και μεθόδων ΣΜ24 και </a:t>
            </a:r>
            <a:r>
              <a:rPr lang="el-GR" sz="3600" b="1" dirty="0">
                <a:latin typeface="Times New Roman" pitchFamily="18" charset="0"/>
                <a:cs typeface="Times New Roman" pitchFamily="18" charset="0"/>
              </a:rPr>
              <a:t>ΣΠΜ24 (για 3ωρη και 12ωρη πρόγνωση)</a:t>
            </a:r>
          </a:p>
        </p:txBody>
      </p:sp>
      <p:sp>
        <p:nvSpPr>
          <p:cNvPr id="83972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83976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83978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graphicFrame>
        <p:nvGraphicFramePr>
          <p:cNvPr id="12" name="Γράφημα 11">
            <a:extLst>
              <a:ext uri="{FF2B5EF4-FFF2-40B4-BE49-F238E27FC236}">
                <a16:creationId xmlns:a16="http://schemas.microsoft.com/office/drawing/2014/main" id="{390AA730-40F9-4186-B719-4831997C28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6679977"/>
              </p:ext>
            </p:extLst>
          </p:nvPr>
        </p:nvGraphicFramePr>
        <p:xfrm>
          <a:off x="1447799" y="1981199"/>
          <a:ext cx="7467601" cy="4572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2923471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2" grpId="0">
        <p:bldAsOne/>
      </p:bldGraphic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Γράφημα 1">
            <a:extLst>
              <a:ext uri="{FF2B5EF4-FFF2-40B4-BE49-F238E27FC236}">
                <a16:creationId xmlns:a16="http://schemas.microsoft.com/office/drawing/2014/main" id="{E98C5FF7-1B4F-494D-A5F2-6F9BE670B5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8113445"/>
              </p:ext>
            </p:extLst>
          </p:nvPr>
        </p:nvGraphicFramePr>
        <p:xfrm>
          <a:off x="3400670" y="1219200"/>
          <a:ext cx="541020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610600" cy="685800"/>
          </a:xfrm>
        </p:spPr>
        <p:txBody>
          <a:bodyPr>
            <a:normAutofit/>
          </a:bodyPr>
          <a:lstStyle/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Αποτελέσματα &amp; Συμπεράσματα (4)</a:t>
            </a:r>
          </a:p>
        </p:txBody>
      </p:sp>
      <p:sp>
        <p:nvSpPr>
          <p:cNvPr id="778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0" y="685800"/>
            <a:ext cx="7924800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Για το σταθμό της ΕΜΥ: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Συντελεστές βαρύτητας μεθόδων πρόβλεψης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0" y="1143000"/>
            <a:ext cx="1828800" cy="381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(θερμοκρασία)</a:t>
            </a:r>
          </a:p>
        </p:txBody>
      </p:sp>
      <p:graphicFrame>
        <p:nvGraphicFramePr>
          <p:cNvPr id="11" name="Γράφημα 2">
            <a:extLst>
              <a:ext uri="{FF2B5EF4-FFF2-40B4-BE49-F238E27FC236}">
                <a16:creationId xmlns:a16="http://schemas.microsoft.com/office/drawing/2014/main" id="{8BA0B39B-54A6-4996-9A12-BE6247753D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0856309"/>
              </p:ext>
            </p:extLst>
          </p:nvPr>
        </p:nvGraphicFramePr>
        <p:xfrm>
          <a:off x="3733800" y="1774724"/>
          <a:ext cx="5410200" cy="3329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0B5FC03F-DC58-432B-A9F5-451A9576690F}"/>
              </a:ext>
            </a:extLst>
          </p:cNvPr>
          <p:cNvSpPr txBox="1"/>
          <p:nvPr/>
        </p:nvSpPr>
        <p:spPr>
          <a:xfrm>
            <a:off x="0" y="1986439"/>
            <a:ext cx="3091386" cy="3893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l-GR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Οι συντελεστές βαρύτητας των μετρήσεων μειώνονται όσο αυξάνει το χρονικό βάθος πρόγνωσης, αλλά και όσο πιο παλιά είναι η μέτρηση. 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l-GR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Αντιθέτως ο συντελεστής βαρύτητας της μετεωρολογικής πρόβλεψης αυξάνει με την αύξηση του χρονικού βάθους πρόγνωσης.</a:t>
            </a:r>
            <a:endParaRPr lang="en-US" sz="190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Γράφημα 10">
            <a:extLst>
              <a:ext uri="{FF2B5EF4-FFF2-40B4-BE49-F238E27FC236}">
                <a16:creationId xmlns:a16="http://schemas.microsoft.com/office/drawing/2014/main" id="{355578CE-3845-4E2E-9906-FB4A860CAD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8929570"/>
              </p:ext>
            </p:extLst>
          </p:nvPr>
        </p:nvGraphicFramePr>
        <p:xfrm>
          <a:off x="3104147" y="2333072"/>
          <a:ext cx="5435723" cy="3219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Γράφημα 11">
            <a:extLst>
              <a:ext uri="{FF2B5EF4-FFF2-40B4-BE49-F238E27FC236}">
                <a16:creationId xmlns:a16="http://schemas.microsoft.com/office/drawing/2014/main" id="{832A00B1-55EC-45E3-85F0-D1CED22368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6633150"/>
              </p:ext>
            </p:extLst>
          </p:nvPr>
        </p:nvGraphicFramePr>
        <p:xfrm>
          <a:off x="3869690" y="2884170"/>
          <a:ext cx="5274310" cy="3413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Γράφημα 13">
            <a:extLst>
              <a:ext uri="{FF2B5EF4-FFF2-40B4-BE49-F238E27FC236}">
                <a16:creationId xmlns:a16="http://schemas.microsoft.com/office/drawing/2014/main" id="{DC6C104D-383B-45F1-B296-F0E307234A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4013739"/>
              </p:ext>
            </p:extLst>
          </p:nvPr>
        </p:nvGraphicFramePr>
        <p:xfrm>
          <a:off x="3424515" y="3443871"/>
          <a:ext cx="5411877" cy="33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  <p:bldGraphic spid="12" grpId="0">
        <p:bldAsOne/>
      </p:bldGraphic>
      <p:bldGraphic spid="13" grpId="0">
        <p:bldAsOne/>
      </p:bldGraphic>
      <p:bldGraphic spid="14" grpId="0">
        <p:bldAsOne/>
      </p:bldGraphic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685800"/>
          </a:xfrm>
        </p:spPr>
        <p:txBody>
          <a:bodyPr>
            <a:normAutofit/>
          </a:bodyPr>
          <a:lstStyle/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Αποτελέσματα &amp; Συμπεράσματα (5)</a:t>
            </a:r>
          </a:p>
        </p:txBody>
      </p:sp>
      <p:sp>
        <p:nvSpPr>
          <p:cNvPr id="778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0" y="685800"/>
            <a:ext cx="7696200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Για το σταθμό της ΕΜΥ: Εξαρτημένη συμπεριφορά των μεταβλητών</a:t>
            </a:r>
          </a:p>
        </p:txBody>
      </p:sp>
      <p:graphicFrame>
        <p:nvGraphicFramePr>
          <p:cNvPr id="8" name="Γράφημα 7">
            <a:extLst>
              <a:ext uri="{FF2B5EF4-FFF2-40B4-BE49-F238E27FC236}">
                <a16:creationId xmlns:a16="http://schemas.microsoft.com/office/drawing/2014/main" id="{B44E8614-29E8-4294-9793-327412623C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6170134"/>
              </p:ext>
            </p:extLst>
          </p:nvPr>
        </p:nvGraphicFramePr>
        <p:xfrm>
          <a:off x="76200" y="1600200"/>
          <a:ext cx="60198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5A8C7A4B-AF65-4524-9164-3FDC8A5B914D}"/>
              </a:ext>
            </a:extLst>
          </p:cNvPr>
          <p:cNvSpPr txBox="1"/>
          <p:nvPr/>
        </p:nvSpPr>
        <p:spPr>
          <a:xfrm>
            <a:off x="6277708" y="1812801"/>
            <a:ext cx="2790092" cy="33085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Φαίνεται να υπάρχει μία διαδοχή των μεταβλητών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Ατμοσφαιρική πίεση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Θερμοκρασία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Υγρασία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Ταχύτητα ανέμου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Κατακρήμνιση</a:t>
            </a:r>
          </a:p>
          <a:p>
            <a:endParaRPr lang="el-GR" sz="190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l-GR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Αυτό μπορεί να ερμηνευθεί από τον κύκλο της ατμόσφαιρας.</a:t>
            </a:r>
            <a:endParaRPr lang="en-US" sz="190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A4F311-0311-4B50-8F9F-C1434EDAD63A}"/>
              </a:ext>
            </a:extLst>
          </p:cNvPr>
          <p:cNvSpPr txBox="1"/>
          <p:nvPr/>
        </p:nvSpPr>
        <p:spPr>
          <a:xfrm>
            <a:off x="76200" y="5876092"/>
            <a:ext cx="8991600" cy="6771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Η διαδοχή αυτή συμβολίζει την </a:t>
            </a:r>
            <a:r>
              <a:rPr lang="el-GR" sz="19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προβλεψιμότητα</a:t>
            </a:r>
            <a:r>
              <a:rPr lang="el-GR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των μεταβλητών, όπου πιο εύκολα  προβλέπεται η ατμοσφαιρική πίεση, ενώ πιο δύσκολα η κατακρήμνιση.</a:t>
            </a:r>
            <a:endParaRPr lang="en-US" sz="190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AC7641C-B522-4C6A-903D-C5E483B97949}"/>
              </a:ext>
            </a:extLst>
          </p:cNvPr>
          <p:cNvSpPr txBox="1">
            <a:spLocks/>
          </p:cNvSpPr>
          <p:nvPr/>
        </p:nvSpPr>
        <p:spPr>
          <a:xfrm>
            <a:off x="6781800" y="1066800"/>
            <a:ext cx="2227006" cy="400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algn="ctr">
              <a:spcBef>
                <a:spcPct val="0"/>
              </a:spcBef>
            </a:pPr>
            <a:r>
              <a:rPr lang="el-GR" sz="2000" b="1" dirty="0">
                <a:solidFill>
                  <a:srgbClr val="0000F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(μέθοδος ΣΜ24) </a:t>
            </a: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675968"/>
          </a:xfrm>
        </p:spPr>
        <p:txBody>
          <a:bodyPr>
            <a:normAutofit/>
          </a:bodyPr>
          <a:lstStyle/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Αποτελέσματα &amp; Συμπεράσματα (6)</a:t>
            </a:r>
          </a:p>
        </p:txBody>
      </p:sp>
      <p:sp>
        <p:nvSpPr>
          <p:cNvPr id="778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0" y="685800"/>
            <a:ext cx="91440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/>
          <a:p>
            <a:pPr lvl="0">
              <a:spcBef>
                <a:spcPct val="0"/>
              </a:spcBef>
            </a:pP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Για το σταθμό της ΕΜΥ</a:t>
            </a:r>
            <a:r>
              <a:rPr lang="el-GR" sz="3600" b="1" dirty="0">
                <a:latin typeface="Times New Roman" pitchFamily="18" charset="0"/>
                <a:ea typeface="+mj-ea"/>
                <a:cs typeface="Times New Roman" pitchFamily="18" charset="0"/>
              </a:rPr>
              <a:t>: Σύγκριση μετρήσεων και προβλέψεων διαφορετικού χρονικού βάθους</a:t>
            </a:r>
            <a:endParaRPr kumimoji="0" lang="el-GR" sz="3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83972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83976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83978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86020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graphicFrame>
        <p:nvGraphicFramePr>
          <p:cNvPr id="12" name="Γράφημα 1">
            <a:extLst>
              <a:ext uri="{FF2B5EF4-FFF2-40B4-BE49-F238E27FC236}">
                <a16:creationId xmlns:a16="http://schemas.microsoft.com/office/drawing/2014/main" id="{95336AF7-8EC9-400C-A362-9FEAF984F0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2181669"/>
              </p:ext>
            </p:extLst>
          </p:nvPr>
        </p:nvGraphicFramePr>
        <p:xfrm>
          <a:off x="152400" y="1295400"/>
          <a:ext cx="5562600" cy="396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Γράφημα 2">
            <a:extLst>
              <a:ext uri="{FF2B5EF4-FFF2-40B4-BE49-F238E27FC236}">
                <a16:creationId xmlns:a16="http://schemas.microsoft.com/office/drawing/2014/main" id="{07CA4078-391F-4989-BD91-BA281228AB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5039773"/>
              </p:ext>
            </p:extLst>
          </p:nvPr>
        </p:nvGraphicFramePr>
        <p:xfrm>
          <a:off x="1524000" y="1600200"/>
          <a:ext cx="56388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Γράφημα 3">
            <a:extLst>
              <a:ext uri="{FF2B5EF4-FFF2-40B4-BE49-F238E27FC236}">
                <a16:creationId xmlns:a16="http://schemas.microsoft.com/office/drawing/2014/main" id="{1EAAD20F-DF9E-44F5-A6C2-14149B7D72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2695152"/>
              </p:ext>
            </p:extLst>
          </p:nvPr>
        </p:nvGraphicFramePr>
        <p:xfrm>
          <a:off x="3411793" y="1981200"/>
          <a:ext cx="55626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Title 1">
            <a:extLst>
              <a:ext uri="{FF2B5EF4-FFF2-40B4-BE49-F238E27FC236}">
                <a16:creationId xmlns:a16="http://schemas.microsoft.com/office/drawing/2014/main" id="{B1BC612E-3714-4B62-8CC7-EC4AC9A38E83}"/>
              </a:ext>
            </a:extLst>
          </p:cNvPr>
          <p:cNvSpPr txBox="1">
            <a:spLocks/>
          </p:cNvSpPr>
          <p:nvPr/>
        </p:nvSpPr>
        <p:spPr>
          <a:xfrm>
            <a:off x="6781800" y="1066800"/>
            <a:ext cx="2227006" cy="400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algn="ctr">
              <a:spcBef>
                <a:spcPct val="0"/>
              </a:spcBef>
            </a:pPr>
            <a:r>
              <a:rPr lang="el-GR" sz="2000" b="1" dirty="0">
                <a:solidFill>
                  <a:srgbClr val="0000F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(μέθοδος ΣΜ24) </a:t>
            </a: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8B93380-A980-428B-8628-D7A766734822}"/>
              </a:ext>
            </a:extLst>
          </p:cNvPr>
          <p:cNvSpPr txBox="1"/>
          <p:nvPr/>
        </p:nvSpPr>
        <p:spPr>
          <a:xfrm>
            <a:off x="152400" y="6028492"/>
            <a:ext cx="8899423" cy="6771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Με την αύξηση του χρονικού ορίζοντα πρόγνωσης, αυξάνουν οι αποκλίσεις προγνώσεων και μετρήσεις, και άρα είναι λιγότερο ικανοποιητική η πρόγνωση.</a:t>
            </a:r>
            <a:endParaRPr lang="en-US" sz="190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AsOne/>
      </p:bldGraphic>
      <p:bldGraphic spid="15" grpId="0">
        <p:bldAsOne/>
      </p:bldGraphic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647700"/>
          </a:xfrm>
        </p:spPr>
        <p:txBody>
          <a:bodyPr>
            <a:normAutofit/>
          </a:bodyPr>
          <a:lstStyle/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Αποτελέσματα &amp; Συμπεράσματα (7)</a:t>
            </a:r>
          </a:p>
        </p:txBody>
      </p:sp>
      <p:sp>
        <p:nvSpPr>
          <p:cNvPr id="778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0" y="533400"/>
            <a:ext cx="91440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Για τους</a:t>
            </a:r>
            <a:r>
              <a:rPr kumimoji="0" lang="el-GR" sz="20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σταθμούς Αττικής, Λονδίνου, Μελβούρνης και Νέας Υόρκης</a:t>
            </a:r>
            <a:endParaRPr kumimoji="0" lang="el-G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83972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83976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83978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86020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7315200" y="990600"/>
            <a:ext cx="1828800" cy="381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(θερμοκρασία)</a:t>
            </a:r>
          </a:p>
        </p:txBody>
      </p:sp>
      <p:graphicFrame>
        <p:nvGraphicFramePr>
          <p:cNvPr id="16" name="Γράφημα 1">
            <a:extLst>
              <a:ext uri="{FF2B5EF4-FFF2-40B4-BE49-F238E27FC236}">
                <a16:creationId xmlns:a16="http://schemas.microsoft.com/office/drawing/2014/main" id="{00000000-0008-0000-0000-000009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9757241"/>
              </p:ext>
            </p:extLst>
          </p:nvPr>
        </p:nvGraphicFramePr>
        <p:xfrm>
          <a:off x="1" y="1371600"/>
          <a:ext cx="4571999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Γράφημα 9">
            <a:extLst>
              <a:ext uri="{FF2B5EF4-FFF2-40B4-BE49-F238E27FC236}">
                <a16:creationId xmlns:a16="http://schemas.microsoft.com/office/drawing/2014/main" id="{00000000-0008-0000-0200-000004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25474865"/>
              </p:ext>
            </p:extLst>
          </p:nvPr>
        </p:nvGraphicFramePr>
        <p:xfrm>
          <a:off x="4572000" y="1378973"/>
          <a:ext cx="4572001" cy="27358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Γράφημα 13">
            <a:extLst>
              <a:ext uri="{FF2B5EF4-FFF2-40B4-BE49-F238E27FC236}">
                <a16:creationId xmlns:a16="http://schemas.microsoft.com/office/drawing/2014/main" id="{9D66F461-0638-4BBC-9298-BF5B003FE2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7507944"/>
              </p:ext>
            </p:extLst>
          </p:nvPr>
        </p:nvGraphicFramePr>
        <p:xfrm>
          <a:off x="0" y="4114800"/>
          <a:ext cx="4572000" cy="27407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Γράφημα 15">
            <a:extLst>
              <a:ext uri="{FF2B5EF4-FFF2-40B4-BE49-F238E27FC236}">
                <a16:creationId xmlns:a16="http://schemas.microsoft.com/office/drawing/2014/main" id="{00000000-0008-0000-0600-000004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7767250"/>
              </p:ext>
            </p:extLst>
          </p:nvPr>
        </p:nvGraphicFramePr>
        <p:xfrm>
          <a:off x="4572000" y="4122174"/>
          <a:ext cx="4572000" cy="27358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4" name="Ευθύγραμμο βέλος σύνδεσης 3">
            <a:extLst>
              <a:ext uri="{FF2B5EF4-FFF2-40B4-BE49-F238E27FC236}">
                <a16:creationId xmlns:a16="http://schemas.microsoft.com/office/drawing/2014/main" id="{7AECBF2F-DCE5-4051-B2BF-C5C25D0CFE17}"/>
              </a:ext>
            </a:extLst>
          </p:cNvPr>
          <p:cNvCxnSpPr/>
          <p:nvPr/>
        </p:nvCxnSpPr>
        <p:spPr>
          <a:xfrm flipH="1" flipV="1">
            <a:off x="2590800" y="2362200"/>
            <a:ext cx="914400" cy="7620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260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7" grpId="0">
        <p:bldAsOne/>
      </p:bldGraphic>
      <p:bldGraphic spid="18" grpId="0">
        <p:bldAsOne/>
      </p:bldGraphic>
      <p:bldGraphic spid="19" grpId="0">
        <p:bldAsOne/>
      </p:bldGraphic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685800"/>
          </a:xfrm>
        </p:spPr>
        <p:txBody>
          <a:bodyPr>
            <a:normAutofit/>
          </a:bodyPr>
          <a:lstStyle/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Αποτελέσματα &amp; Συμπεράσματα (8)</a:t>
            </a:r>
          </a:p>
        </p:txBody>
      </p:sp>
      <p:sp>
        <p:nvSpPr>
          <p:cNvPr id="778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8C7A4B-AF65-4524-9164-3FDC8A5B914D}"/>
              </a:ext>
            </a:extLst>
          </p:cNvPr>
          <p:cNvSpPr txBox="1"/>
          <p:nvPr/>
        </p:nvSpPr>
        <p:spPr>
          <a:xfrm>
            <a:off x="4722130" y="1641986"/>
            <a:ext cx="4345669" cy="47705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Στο Λονδίνο και τη Μελβούρνη όπου το κλίμα είναι αρκετά σταθερό (έχει μικρές διακυμάνσεις σε μικρό χρονικό διάστημα) παρουσιάζεται η μικρότερη απόδοση για τη μετεωρολογική πρόβλεψη. Αυτό σε πρώτη φάση φαίνεται παράλογο αλλά σχετίζεται με τον τρόπο υπολογισμού του συντελεστή απόδοσης </a:t>
            </a:r>
            <a:r>
              <a:rPr lang="en-US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sh-Sutcliffe. </a:t>
            </a:r>
          </a:p>
          <a:p>
            <a:endParaRPr lang="en-US" sz="190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90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90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l-GR" sz="19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Έτσι όσο καλό και να είναι το μετεωρολογικό μοντέλο πρόβλεψης, αν η μεταβλητή είναι περίπου σταθερή, η τιμή του συντελεστή απόδοσης θα είναι μειωμένη.</a:t>
            </a:r>
            <a:endParaRPr lang="en-US" sz="190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Γράφημα 9">
            <a:extLst>
              <a:ext uri="{FF2B5EF4-FFF2-40B4-BE49-F238E27FC236}">
                <a16:creationId xmlns:a16="http://schemas.microsoft.com/office/drawing/2014/main" id="{30DD98B3-C9B9-4ADC-8139-75598DFC29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5690227"/>
              </p:ext>
            </p:extLst>
          </p:nvPr>
        </p:nvGraphicFramePr>
        <p:xfrm>
          <a:off x="-1" y="1371600"/>
          <a:ext cx="4572001" cy="27358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Γράφημα 13">
            <a:extLst>
              <a:ext uri="{FF2B5EF4-FFF2-40B4-BE49-F238E27FC236}">
                <a16:creationId xmlns:a16="http://schemas.microsoft.com/office/drawing/2014/main" id="{D207A6DD-2A14-44FE-BF86-403F717F58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2124670"/>
              </p:ext>
            </p:extLst>
          </p:nvPr>
        </p:nvGraphicFramePr>
        <p:xfrm>
          <a:off x="0" y="4114800"/>
          <a:ext cx="4572000" cy="27407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Object 3">
            <a:extLst>
              <a:ext uri="{FF2B5EF4-FFF2-40B4-BE49-F238E27FC236}">
                <a16:creationId xmlns:a16="http://schemas.microsoft.com/office/drawing/2014/main" id="{21F65D76-3E4F-42E5-BEBE-BC648BF99EF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93534694"/>
              </p:ext>
            </p:extLst>
          </p:nvPr>
        </p:nvGraphicFramePr>
        <p:xfrm>
          <a:off x="5526787" y="4038601"/>
          <a:ext cx="2736356" cy="838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97" name="Εξίσωση" r:id="rId6" imgW="38100000" imgH="13411200" progId="Equation.3">
                  <p:embed/>
                </p:oleObj>
              </mc:Choice>
              <mc:Fallback>
                <p:oleObj name="Εξίσωση" r:id="rId6" imgW="38100000" imgH="13411200" progId="Equation.3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26787" y="4038601"/>
                        <a:ext cx="2736356" cy="8381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 txBox="1">
            <a:spLocks/>
          </p:cNvSpPr>
          <p:nvPr/>
        </p:nvSpPr>
        <p:spPr>
          <a:xfrm>
            <a:off x="0" y="533400"/>
            <a:ext cx="91440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Για τους</a:t>
            </a:r>
            <a:r>
              <a:rPr kumimoji="0" lang="el-GR" sz="20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σταθμούς Λονδίνου και Μελβούρνης</a:t>
            </a:r>
            <a:endParaRPr kumimoji="0" lang="el-G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7315200" y="990600"/>
            <a:ext cx="1828800" cy="381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(θερμοκρασία)</a:t>
            </a:r>
          </a:p>
        </p:txBody>
      </p:sp>
    </p:spTree>
    <p:extLst>
      <p:ext uri="{BB962C8B-B14F-4D97-AF65-F5344CB8AC3E}">
        <p14:creationId xmlns:p14="http://schemas.microsoft.com/office/powerpoint/2010/main" val="24438875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62000"/>
          </a:xfrm>
        </p:spPr>
        <p:txBody>
          <a:bodyPr>
            <a:normAutofit/>
          </a:bodyPr>
          <a:lstStyle/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Αποτελέσματα &amp; Συμπεράσματα (9)</a:t>
            </a:r>
          </a:p>
        </p:txBody>
      </p:sp>
      <p:sp>
        <p:nvSpPr>
          <p:cNvPr id="77826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0" y="533400"/>
            <a:ext cx="91440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kumimoji="0" lang="el-GR" sz="20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Σύγκριση αποτελεσμάτων απόδοσης των σταθμών</a:t>
            </a:r>
            <a:endParaRPr kumimoji="0" lang="el-G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83972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83976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83978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sp>
        <p:nvSpPr>
          <p:cNvPr id="86020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l-GR"/>
          </a:p>
        </p:txBody>
      </p:sp>
      <p:graphicFrame>
        <p:nvGraphicFramePr>
          <p:cNvPr id="15" name="Γράφημα 1">
            <a:extLst>
              <a:ext uri="{FF2B5EF4-FFF2-40B4-BE49-F238E27FC236}">
                <a16:creationId xmlns:a16="http://schemas.microsoft.com/office/drawing/2014/main" id="{EB68A16C-E819-4D69-94D6-6E4A3F3DA5B4}"/>
              </a:ext>
            </a:extLst>
          </p:cNvPr>
          <p:cNvGraphicFramePr/>
          <p:nvPr/>
        </p:nvGraphicFramePr>
        <p:xfrm>
          <a:off x="0" y="1371600"/>
          <a:ext cx="5274310" cy="27254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0" name="Γράφημα 10">
            <a:extLst>
              <a:ext uri="{FF2B5EF4-FFF2-40B4-BE49-F238E27FC236}">
                <a16:creationId xmlns:a16="http://schemas.microsoft.com/office/drawing/2014/main" id="{C1FAE6E6-546F-4B34-8416-E9F57123FC66}"/>
              </a:ext>
            </a:extLst>
          </p:cNvPr>
          <p:cNvGraphicFramePr/>
          <p:nvPr/>
        </p:nvGraphicFramePr>
        <p:xfrm>
          <a:off x="0" y="4126523"/>
          <a:ext cx="5274310" cy="2731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79EFCADE-79AC-4CEE-8252-A11118EEF71C}"/>
              </a:ext>
            </a:extLst>
          </p:cNvPr>
          <p:cNvSpPr txBox="1">
            <a:spLocks/>
          </p:cNvSpPr>
          <p:nvPr/>
        </p:nvSpPr>
        <p:spPr>
          <a:xfrm>
            <a:off x="6781800" y="1066800"/>
            <a:ext cx="2227006" cy="400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algn="ctr">
              <a:spcBef>
                <a:spcPct val="0"/>
              </a:spcBef>
            </a:pPr>
            <a:r>
              <a:rPr lang="el-GR" sz="2000" b="1" dirty="0">
                <a:solidFill>
                  <a:srgbClr val="0000F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(μέθοδος ΣΜ24) </a:t>
            </a: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C71CBC-A8E0-484B-8004-A389E619B93B}"/>
              </a:ext>
            </a:extLst>
          </p:cNvPr>
          <p:cNvSpPr txBox="1"/>
          <p:nvPr/>
        </p:nvSpPr>
        <p:spPr>
          <a:xfrm>
            <a:off x="5486400" y="2062639"/>
            <a:ext cx="3502741" cy="41857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sz="1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Παρόλο που οι περιοχές (Αττική-Νέα Υόρκη και Λονδίνο-Μελβούρνη) έχουν ή παρόμοια κλιματικά χαρακτηριστικά βάσει της κατάταξης </a:t>
            </a:r>
            <a:r>
              <a:rPr lang="en-US" sz="19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öppen</a:t>
            </a:r>
            <a:r>
              <a:rPr lang="el-GR" sz="1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βλέπουμε ότι λόγω του διαφορετικού μικροκλίματος τα μοντέλα πρόγνωσης δίνουν ποικίλα αποτελέσματα.</a:t>
            </a:r>
          </a:p>
          <a:p>
            <a:endParaRPr lang="el-GR" sz="1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l-GR" sz="1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Δεν προκύπτει κάποια συσχέτιση των κλιματικών χαρακτηριστικών με τα αποτελέσματα των μεθόδων πρόγνωσης.</a:t>
            </a:r>
            <a:endParaRPr lang="en-US" sz="1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81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6"/>
          <p:cNvGrpSpPr/>
          <p:nvPr/>
        </p:nvGrpSpPr>
        <p:grpSpPr>
          <a:xfrm>
            <a:off x="2" y="0"/>
            <a:ext cx="9143998" cy="7747148"/>
            <a:chOff x="270818" y="778361"/>
            <a:chExt cx="8476552" cy="6778622"/>
          </a:xfrm>
        </p:grpSpPr>
        <p:sp>
          <p:nvSpPr>
            <p:cNvPr id="54" name="Oval 53"/>
            <p:cNvSpPr/>
            <p:nvPr/>
          </p:nvSpPr>
          <p:spPr>
            <a:xfrm>
              <a:off x="2980996" y="4985658"/>
              <a:ext cx="2657804" cy="2114350"/>
            </a:xfrm>
            <a:prstGeom prst="ellipse">
              <a:avLst/>
            </a:prstGeom>
            <a:solidFill>
              <a:schemeClr val="bg1">
                <a:lumMod val="75000"/>
                <a:alpha val="18000"/>
              </a:schemeClr>
            </a:solidFill>
            <a:ln w="139700"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  <a:softEdge rad="127000"/>
            </a:effectLst>
            <a:scene3d>
              <a:camera prst="perspectiveFront" fov="2700000">
                <a:rot lat="19924472" lon="2371624" rev="19033905"/>
              </a:camera>
              <a:lightRig rig="flood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400" b="1" dirty="0">
                <a:ln w="19050">
                  <a:noFill/>
                  <a:prstDash val="solid"/>
                </a:ln>
                <a:solidFill>
                  <a:srgbClr val="182848"/>
                </a:solidFill>
                <a:latin typeface="Impact" pitchFamily="34" charset="0"/>
              </a:endParaRPr>
            </a:p>
          </p:txBody>
        </p:sp>
        <p:sp>
          <p:nvSpPr>
            <p:cNvPr id="21" name="Oval Callout 20"/>
            <p:cNvSpPr/>
            <p:nvPr/>
          </p:nvSpPr>
          <p:spPr>
            <a:xfrm rot="16200000" flipV="1">
              <a:off x="6129033" y="4160658"/>
              <a:ext cx="2466927" cy="2769746"/>
            </a:xfrm>
            <a:prstGeom prst="wedgeEllipseCallout">
              <a:avLst>
                <a:gd name="adj1" fmla="val 23444"/>
                <a:gd name="adj2" fmla="val 76910"/>
              </a:avLst>
            </a:prstGeom>
            <a:gradFill flip="none" rotWithShape="1">
              <a:gsLst>
                <a:gs pos="78000">
                  <a:srgbClr val="D9A803"/>
                </a:gs>
                <a:gs pos="0">
                  <a:srgbClr val="FFE101"/>
                </a:gs>
                <a:gs pos="100000">
                  <a:schemeClr val="accent6">
                    <a:lumMod val="5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6" name="Chord 45"/>
            <p:cNvSpPr/>
            <p:nvPr/>
          </p:nvSpPr>
          <p:spPr>
            <a:xfrm rot="16031008">
              <a:off x="6265760" y="4289873"/>
              <a:ext cx="2236898" cy="2528764"/>
            </a:xfrm>
            <a:prstGeom prst="chord">
              <a:avLst>
                <a:gd name="adj1" fmla="val 16260661"/>
                <a:gd name="adj2" fmla="val 16200000"/>
              </a:avLst>
            </a:prstGeom>
            <a:gradFill>
              <a:gsLst>
                <a:gs pos="83000">
                  <a:schemeClr val="bg1">
                    <a:alpha val="52000"/>
                  </a:schemeClr>
                </a:gs>
                <a:gs pos="0">
                  <a:schemeClr val="bg1"/>
                </a:gs>
                <a:gs pos="100000">
                  <a:schemeClr val="bg1">
                    <a:alpha val="31000"/>
                  </a:schemeClr>
                </a:gs>
              </a:gsLst>
              <a:lin ang="10800000" scaled="1"/>
            </a:gradFill>
            <a:ln w="19050">
              <a:solidFill>
                <a:schemeClr val="bg1">
                  <a:alpha val="49000"/>
                </a:schemeClr>
              </a:solidFill>
            </a:ln>
            <a:effectLst>
              <a:innerShdw blurRad="114300">
                <a:prstClr val="black">
                  <a:alpha val="32000"/>
                </a:prstClr>
              </a:inn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851214" y="5511228"/>
              <a:ext cx="2712251" cy="29213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400050" algn="ctr" fontAlgn="b">
                <a:lnSpc>
                  <a:spcPct val="110000"/>
                </a:lnSpc>
                <a:tabLst>
                  <a:tab pos="514350" algn="l"/>
                </a:tabLst>
              </a:pPr>
              <a:endParaRPr lang="en-US" sz="17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ea typeface="Kozuka Gothic Pro M" pitchFamily="34" charset="-128"/>
                <a:cs typeface="Times New Roman" pitchFamily="18" charset="0"/>
              </a:endParaRPr>
            </a:p>
          </p:txBody>
        </p:sp>
        <p:sp>
          <p:nvSpPr>
            <p:cNvPr id="3" name="Oval Callout 2"/>
            <p:cNvSpPr/>
            <p:nvPr/>
          </p:nvSpPr>
          <p:spPr>
            <a:xfrm rot="5400000" flipH="1" flipV="1">
              <a:off x="432902" y="749623"/>
              <a:ext cx="2466929" cy="2791098"/>
            </a:xfrm>
            <a:prstGeom prst="wedgeEllipseCallout">
              <a:avLst>
                <a:gd name="adj1" fmla="val -98692"/>
                <a:gd name="adj2" fmla="val 86423"/>
              </a:avLst>
            </a:prstGeom>
            <a:gradFill flip="none" rotWithShape="1">
              <a:gsLst>
                <a:gs pos="83000">
                  <a:srgbClr val="5A930E"/>
                </a:gs>
                <a:gs pos="0">
                  <a:srgbClr val="9BED17"/>
                </a:gs>
                <a:gs pos="100000">
                  <a:srgbClr val="305808"/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50800" dist="88900" dir="5400000" algn="t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0" name="Chord 39"/>
            <p:cNvSpPr/>
            <p:nvPr/>
          </p:nvSpPr>
          <p:spPr>
            <a:xfrm rot="16031008">
              <a:off x="516853" y="869556"/>
              <a:ext cx="2267837" cy="2503595"/>
            </a:xfrm>
            <a:prstGeom prst="chord">
              <a:avLst>
                <a:gd name="adj1" fmla="val 16260661"/>
                <a:gd name="adj2" fmla="val 16202441"/>
              </a:avLst>
            </a:prstGeom>
            <a:gradFill>
              <a:gsLst>
                <a:gs pos="83000">
                  <a:schemeClr val="bg1">
                    <a:alpha val="52000"/>
                  </a:schemeClr>
                </a:gs>
                <a:gs pos="0">
                  <a:schemeClr val="bg1"/>
                </a:gs>
                <a:gs pos="100000">
                  <a:schemeClr val="bg1">
                    <a:alpha val="31000"/>
                  </a:schemeClr>
                </a:gs>
              </a:gsLst>
              <a:lin ang="10800000" scaled="1"/>
            </a:gradFill>
            <a:ln w="19050">
              <a:solidFill>
                <a:schemeClr val="bg1">
                  <a:alpha val="49000"/>
                </a:schemeClr>
              </a:solidFill>
            </a:ln>
            <a:effectLst>
              <a:innerShdw blurRad="114300">
                <a:prstClr val="black">
                  <a:alpha val="32000"/>
                </a:prstClr>
              </a:inn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8" name="Oval Callout 37"/>
            <p:cNvSpPr/>
            <p:nvPr/>
          </p:nvSpPr>
          <p:spPr>
            <a:xfrm rot="16200000" flipV="1">
              <a:off x="6109449" y="1649552"/>
              <a:ext cx="2464016" cy="2727666"/>
            </a:xfrm>
            <a:prstGeom prst="wedgeEllipseCallout">
              <a:avLst>
                <a:gd name="adj1" fmla="val -73669"/>
                <a:gd name="adj2" fmla="val 82575"/>
              </a:avLst>
            </a:prstGeom>
            <a:gradFill flip="none" rotWithShape="1">
              <a:gsLst>
                <a:gs pos="81000">
                  <a:srgbClr val="0E618F"/>
                </a:gs>
                <a:gs pos="0">
                  <a:srgbClr val="00B0F0"/>
                </a:gs>
                <a:gs pos="100000">
                  <a:srgbClr val="182848"/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50800" dist="88900" dir="4200000" algn="t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4" name="Chord 43"/>
            <p:cNvSpPr/>
            <p:nvPr/>
          </p:nvSpPr>
          <p:spPr>
            <a:xfrm rot="16031008">
              <a:off x="6220056" y="1768787"/>
              <a:ext cx="2239891" cy="2527008"/>
            </a:xfrm>
            <a:prstGeom prst="chord">
              <a:avLst>
                <a:gd name="adj1" fmla="val 16260661"/>
                <a:gd name="adj2" fmla="val 16200000"/>
              </a:avLst>
            </a:prstGeom>
            <a:gradFill>
              <a:gsLst>
                <a:gs pos="83000">
                  <a:schemeClr val="bg1">
                    <a:alpha val="52000"/>
                  </a:schemeClr>
                </a:gs>
                <a:gs pos="0">
                  <a:schemeClr val="bg1"/>
                </a:gs>
                <a:gs pos="100000">
                  <a:schemeClr val="bg1">
                    <a:alpha val="31000"/>
                  </a:schemeClr>
                </a:gs>
              </a:gsLst>
              <a:lin ang="10800000" scaled="1"/>
            </a:gradFill>
            <a:ln w="19050">
              <a:solidFill>
                <a:schemeClr val="bg1">
                  <a:alpha val="49000"/>
                </a:schemeClr>
              </a:solidFill>
            </a:ln>
            <a:effectLst>
              <a:innerShdw blurRad="114300">
                <a:prstClr val="black">
                  <a:alpha val="32000"/>
                </a:prstClr>
              </a:inn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780576" y="2887444"/>
              <a:ext cx="2731513" cy="29213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400050" algn="ctr" fontAlgn="b">
                <a:lnSpc>
                  <a:spcPct val="110000"/>
                </a:lnSpc>
                <a:tabLst>
                  <a:tab pos="514350" algn="l"/>
                </a:tabLst>
              </a:pPr>
              <a:endParaRPr lang="en-US" sz="17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ea typeface="Kozuka Gothic Pro M" pitchFamily="34" charset="-128"/>
                <a:cs typeface="Times New Roman" pitchFamily="18" charset="0"/>
              </a:endParaRPr>
            </a:p>
          </p:txBody>
        </p:sp>
        <p:sp>
          <p:nvSpPr>
            <p:cNvPr id="39" name="Oval Callout 38"/>
            <p:cNvSpPr/>
            <p:nvPr/>
          </p:nvSpPr>
          <p:spPr>
            <a:xfrm rot="5400000" flipH="1" flipV="1">
              <a:off x="3314914" y="630419"/>
              <a:ext cx="2600276" cy="2896159"/>
            </a:xfrm>
            <a:prstGeom prst="wedgeEllipseCallout">
              <a:avLst>
                <a:gd name="adj1" fmla="val -100357"/>
                <a:gd name="adj2" fmla="val -1384"/>
              </a:avLst>
            </a:prstGeom>
            <a:gradFill flip="none" rotWithShape="1">
              <a:gsLst>
                <a:gs pos="81000">
                  <a:srgbClr val="910808"/>
                </a:gs>
                <a:gs pos="0">
                  <a:srgbClr val="ED1111"/>
                </a:gs>
                <a:gs pos="100000">
                  <a:srgbClr val="3E0000"/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50800" dist="88900" dir="5400000" algn="t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2" name="Chord 41"/>
            <p:cNvSpPr/>
            <p:nvPr/>
          </p:nvSpPr>
          <p:spPr>
            <a:xfrm rot="16031008">
              <a:off x="3439923" y="709121"/>
              <a:ext cx="2383435" cy="2699901"/>
            </a:xfrm>
            <a:prstGeom prst="chord">
              <a:avLst>
                <a:gd name="adj1" fmla="val 16260661"/>
                <a:gd name="adj2" fmla="val 16200000"/>
              </a:avLst>
            </a:prstGeom>
            <a:gradFill>
              <a:gsLst>
                <a:gs pos="83000">
                  <a:schemeClr val="bg1">
                    <a:alpha val="52000"/>
                  </a:schemeClr>
                </a:gs>
                <a:gs pos="0">
                  <a:schemeClr val="bg1"/>
                </a:gs>
                <a:gs pos="100000">
                  <a:schemeClr val="bg1">
                    <a:alpha val="31000"/>
                  </a:schemeClr>
                </a:gs>
              </a:gsLst>
              <a:lin ang="10800000" scaled="1"/>
            </a:gradFill>
            <a:ln w="19050">
              <a:solidFill>
                <a:schemeClr val="bg1">
                  <a:alpha val="49000"/>
                </a:schemeClr>
              </a:solidFill>
            </a:ln>
            <a:effectLst>
              <a:innerShdw blurRad="114300">
                <a:prstClr val="black">
                  <a:alpha val="32000"/>
                </a:prstClr>
              </a:innerShdw>
            </a:effectLst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359176" y="1827325"/>
              <a:ext cx="2562676" cy="30969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endParaRPr lang="el-GR" sz="17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4800" y="3912025"/>
              <a:ext cx="2133600" cy="2798803"/>
            </a:xfrm>
            <a:prstGeom prst="rect">
              <a:avLst/>
            </a:prstGeom>
          </p:spPr>
        </p:pic>
        <p:grpSp>
          <p:nvGrpSpPr>
            <p:cNvPr id="7" name="Group 75"/>
            <p:cNvGrpSpPr/>
            <p:nvPr/>
          </p:nvGrpSpPr>
          <p:grpSpPr>
            <a:xfrm>
              <a:off x="2266350" y="2503486"/>
              <a:ext cx="4785709" cy="5053497"/>
              <a:chOff x="2266350" y="2503486"/>
              <a:chExt cx="4785709" cy="5053497"/>
            </a:xfrm>
          </p:grpSpPr>
          <p:sp>
            <p:nvSpPr>
              <p:cNvPr id="77" name="Oval 76"/>
              <p:cNvSpPr/>
              <p:nvPr/>
            </p:nvSpPr>
            <p:spPr>
              <a:xfrm>
                <a:off x="2784859" y="2503486"/>
                <a:ext cx="4267200" cy="5053497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78" name="Oval 77"/>
              <p:cNvSpPr/>
              <p:nvPr/>
            </p:nvSpPr>
            <p:spPr>
              <a:xfrm>
                <a:off x="2514600" y="4495800"/>
                <a:ext cx="2981869" cy="2114350"/>
              </a:xfrm>
              <a:prstGeom prst="ellipse">
                <a:avLst/>
              </a:prstGeom>
              <a:solidFill>
                <a:srgbClr val="47CFFF"/>
              </a:solidFill>
              <a:ln w="139700">
                <a:gradFill flip="none" rotWithShape="1">
                  <a:gsLst>
                    <a:gs pos="0">
                      <a:srgbClr val="00B0F0"/>
                    </a:gs>
                    <a:gs pos="85000">
                      <a:srgbClr val="0E6193"/>
                    </a:gs>
                    <a:gs pos="100000">
                      <a:srgbClr val="0070C0"/>
                    </a:gs>
                  </a:gsLst>
                  <a:lin ang="16200000" scaled="1"/>
                  <a:tileRect/>
                </a:gradFill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cene3d>
                <a:camera prst="perspectiveFront" fov="2700000">
                  <a:rot lat="20376000" lon="1938000" rev="20112001"/>
                </a:camera>
                <a:lightRig rig="flood" dir="t"/>
              </a:scene3d>
              <a:sp3d extrusionH="234950" prstMaterial="matte">
                <a:bevelT w="819150" h="88900" prst="softRound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3400" b="1" dirty="0">
                  <a:ln w="19050">
                    <a:noFill/>
                    <a:prstDash val="solid"/>
                  </a:ln>
                  <a:solidFill>
                    <a:srgbClr val="182848"/>
                  </a:solidFill>
                  <a:latin typeface="Impact" pitchFamily="34" charset="0"/>
                </a:endParaRPr>
              </a:p>
            </p:txBody>
          </p:sp>
          <p:sp>
            <p:nvSpPr>
              <p:cNvPr id="79" name="Oval 78"/>
              <p:cNvSpPr/>
              <p:nvPr/>
            </p:nvSpPr>
            <p:spPr>
              <a:xfrm>
                <a:off x="2794000" y="4686300"/>
                <a:ext cx="2620960" cy="1850518"/>
              </a:xfrm>
              <a:prstGeom prst="ellipse">
                <a:avLst/>
              </a:prstGeom>
              <a:gradFill>
                <a:gsLst>
                  <a:gs pos="1000">
                    <a:srgbClr val="EF2525">
                      <a:alpha val="0"/>
                    </a:srgbClr>
                  </a:gs>
                  <a:gs pos="2900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6200000" scaled="1"/>
              </a:gradFill>
              <a:ln w="139700">
                <a:noFill/>
              </a:ln>
              <a:effectLst/>
              <a:scene3d>
                <a:camera prst="perspectiveFront" fov="2700000">
                  <a:rot lat="20376000" lon="1938000" rev="20112001"/>
                </a:camera>
                <a:lightRig rig="threePt" dir="t"/>
              </a:scene3d>
              <a:sp3d prstMaterial="matte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3400" b="1" dirty="0">
                  <a:ln w="19050">
                    <a:noFill/>
                    <a:prstDash val="solid"/>
                  </a:ln>
                  <a:solidFill>
                    <a:srgbClr val="182848"/>
                  </a:solidFill>
                  <a:latin typeface="Impact" pitchFamily="34" charset="0"/>
                </a:endParaRPr>
              </a:p>
            </p:txBody>
          </p:sp>
          <p:sp>
            <p:nvSpPr>
              <p:cNvPr id="80" name="Oval 79"/>
              <p:cNvSpPr/>
              <p:nvPr/>
            </p:nvSpPr>
            <p:spPr>
              <a:xfrm>
                <a:off x="2266350" y="4762832"/>
                <a:ext cx="3601050" cy="1370165"/>
              </a:xfrm>
              <a:prstGeom prst="ellipse">
                <a:avLst/>
              </a:prstGeom>
              <a:noFill/>
              <a:ln w="139700">
                <a:noFill/>
              </a:ln>
              <a:effectLst/>
              <a:scene3d>
                <a:camera prst="perspectiveFront" fov="2700000">
                  <a:rot lat="20376000" lon="1938000" rev="20112001"/>
                </a:camera>
                <a:lightRig rig="flood" dir="t"/>
              </a:scene3d>
              <a:sp3d extrusionH="234950" prstMaterial="plastic">
                <a:bevelT w="819150" h="88900" prst="softRound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sp3d>
                  <a:bevelT w="0" h="0"/>
                  <a:extrusionClr>
                    <a:schemeClr val="bg1"/>
                  </a:extrusionClr>
                  <a:contourClr>
                    <a:srgbClr val="FFFF00"/>
                  </a:contourClr>
                </a:sp3d>
              </a:bodyPr>
              <a:lstStyle/>
              <a:p>
                <a:pPr algn="ctr"/>
                <a:r>
                  <a:rPr lang="el-GR" sz="2800" b="1" dirty="0">
                    <a:ln w="19050">
                      <a:noFill/>
                      <a:prstDash val="solid"/>
                    </a:ln>
                    <a:solidFill>
                      <a:srgbClr val="1C1C1C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Γενικά Συμπεράσματα</a:t>
                </a:r>
                <a:endParaRPr lang="en-GB" sz="2800" b="1" dirty="0">
                  <a:ln w="19050">
                    <a:noFill/>
                    <a:prstDash val="solid"/>
                  </a:ln>
                  <a:solidFill>
                    <a:srgbClr val="1C1C1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id="{3C7FADE8-0594-4AE0-A4C3-228D02981D69}"/>
              </a:ext>
            </a:extLst>
          </p:cNvPr>
          <p:cNvSpPr txBox="1">
            <a:spLocks/>
          </p:cNvSpPr>
          <p:nvPr/>
        </p:nvSpPr>
        <p:spPr>
          <a:xfrm>
            <a:off x="6400800" y="13456"/>
            <a:ext cx="2743199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"/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Σύνοψη</a:t>
            </a:r>
            <a:r>
              <a:rPr lang="el-GR" sz="28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l-GR" sz="36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1F4B30-BBEC-43B8-98C8-03F858DB5090}"/>
              </a:ext>
            </a:extLst>
          </p:cNvPr>
          <p:cNvSpPr txBox="1"/>
          <p:nvPr/>
        </p:nvSpPr>
        <p:spPr>
          <a:xfrm>
            <a:off x="201909" y="304800"/>
            <a:ext cx="2561687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7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ea typeface="Kozuka Gothic Pro M" pitchFamily="34" charset="-128"/>
                <a:cs typeface="Times New Roman" pitchFamily="18" charset="0"/>
              </a:rPr>
              <a:t>Οι μέθοδοι </a:t>
            </a:r>
          </a:p>
          <a:p>
            <a:pPr algn="ctr"/>
            <a:r>
              <a:rPr lang="el-GR" sz="17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ea typeface="Kozuka Gothic Pro M" pitchFamily="34" charset="-128"/>
                <a:cs typeface="Times New Roman" pitchFamily="18" charset="0"/>
              </a:rPr>
              <a:t>συνδυασμού δίνουν τα καλύτερα αποτελέσματα, ενώ σε κάποιες περιπτώσεις δεν χρειάζονται καθόλου οι προβλέψεις (κυρίως σε κοντινές προγνώσεις).</a:t>
            </a:r>
            <a:endParaRPr lang="en-US" sz="170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ea typeface="Kozuka Gothic Pro M" pitchFamily="34" charset="-128"/>
              <a:cs typeface="Times New Roman" pitchFamily="18" charset="0"/>
            </a:endParaRPr>
          </a:p>
          <a:p>
            <a:endParaRPr lang="el-GR" sz="17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B212BF3-6410-41BC-A45F-42E409EF2934}"/>
              </a:ext>
            </a:extLst>
          </p:cNvPr>
          <p:cNvSpPr txBox="1"/>
          <p:nvPr/>
        </p:nvSpPr>
        <p:spPr>
          <a:xfrm>
            <a:off x="3423352" y="211999"/>
            <a:ext cx="2561687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7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Διαδοχή </a:t>
            </a:r>
          </a:p>
          <a:p>
            <a:pPr algn="ctr"/>
            <a:r>
              <a:rPr lang="el-GR" sz="17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στην απόδοση / </a:t>
            </a:r>
            <a:r>
              <a:rPr lang="el-GR" sz="17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προβλεψιμότητα</a:t>
            </a:r>
            <a:r>
              <a:rPr lang="el-GR" sz="17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των μεταβλητών (βάσει κύκλου ατμόσφαιρας): Ατμοσφαιρική πίεση, Θερμοκρασία, Υγρασία, Ταχύτητα ανέμου, Κατακρήμνιση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B9B284A-4B45-4183-98CC-E5C351797AB3}"/>
              </a:ext>
            </a:extLst>
          </p:cNvPr>
          <p:cNvSpPr txBox="1"/>
          <p:nvPr/>
        </p:nvSpPr>
        <p:spPr>
          <a:xfrm>
            <a:off x="5943600" y="1534878"/>
            <a:ext cx="2971800" cy="2106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algn="ctr" fontAlgn="b">
              <a:lnSpc>
                <a:spcPct val="110000"/>
              </a:lnSpc>
              <a:tabLst>
                <a:tab pos="514350" algn="l"/>
              </a:tabLst>
            </a:pPr>
            <a:r>
              <a:rPr lang="el-GR" sz="17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Με τη αύξηση του χρονικού ορίζοντα πρόγνωσης, αυξάνουν οι αποκλίσεις μετρήσεων και προβλέψεων, και άρα είναι λιγότερο ικανοποιητική η πρόγνωση.</a:t>
            </a:r>
            <a:endParaRPr lang="en-US" sz="170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ea typeface="Kozuka Gothic Pro M" pitchFamily="34" charset="-128"/>
              <a:cs typeface="Times New Roman" pitchFamily="18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81DE527-4FB6-4508-B760-03AB77BDAC43}"/>
              </a:ext>
            </a:extLst>
          </p:cNvPr>
          <p:cNvSpPr txBox="1"/>
          <p:nvPr/>
        </p:nvSpPr>
        <p:spPr>
          <a:xfrm>
            <a:off x="6002240" y="4524945"/>
            <a:ext cx="2971800" cy="2106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algn="ctr" fontAlgn="b">
              <a:lnSpc>
                <a:spcPct val="110000"/>
              </a:lnSpc>
              <a:tabLst>
                <a:tab pos="514350" algn="l"/>
              </a:tabLst>
            </a:pPr>
            <a:r>
              <a:rPr lang="el-GR" sz="17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ea typeface="Kozuka Gothic Pro M" pitchFamily="34" charset="-128"/>
                <a:cs typeface="Times New Roman" pitchFamily="18" charset="0"/>
              </a:rPr>
              <a:t>Δεν υπάρχει αντιστοιχία των αποτελεσμάτων των μεθόδων πρόγνωσης και του κλίματος της εκάστοτε περιοχής λόγω του διαφορετικού μικροκλίματος</a:t>
            </a:r>
            <a:r>
              <a:rPr lang="el-GR" sz="17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170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ea typeface="Kozuka Gothic Pro M" pitchFamily="34" charset="-128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6126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6" grpId="0"/>
      <p:bldP spid="28" grpId="0"/>
      <p:bldP spid="2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Γράφημα 3">
            <a:extLst>
              <a:ext uri="{FF2B5EF4-FFF2-40B4-BE49-F238E27FC236}">
                <a16:creationId xmlns:a16="http://schemas.microsoft.com/office/drawing/2014/main" id="{893F9E4F-777A-4225-A316-4433732DB8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0190193"/>
              </p:ext>
            </p:extLst>
          </p:nvPr>
        </p:nvGraphicFramePr>
        <p:xfrm>
          <a:off x="0" y="1"/>
          <a:ext cx="9144000" cy="3411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Γράφημα 4">
            <a:extLst>
              <a:ext uri="{FF2B5EF4-FFF2-40B4-BE49-F238E27FC236}">
                <a16:creationId xmlns:a16="http://schemas.microsoft.com/office/drawing/2014/main" id="{5B6C668A-17DC-4094-BAFC-E624835C629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5483281"/>
              </p:ext>
            </p:extLst>
          </p:nvPr>
        </p:nvGraphicFramePr>
        <p:xfrm>
          <a:off x="0" y="3411794"/>
          <a:ext cx="9144000" cy="34462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08460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Oval 97"/>
          <p:cNvSpPr/>
          <p:nvPr/>
        </p:nvSpPr>
        <p:spPr>
          <a:xfrm>
            <a:off x="7543800" y="3581400"/>
            <a:ext cx="1730774" cy="457200"/>
          </a:xfrm>
          <a:prstGeom prst="ellipse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bg1">
                  <a:alpha val="0"/>
                  <a:lumMod val="0"/>
                  <a:lumOff val="100000"/>
                </a:schemeClr>
              </a:gs>
            </a:gsLst>
            <a:path path="shape">
              <a:fillToRect l="50000" t="50000" r="50000" b="50000"/>
            </a:path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7" name="Group 86"/>
          <p:cNvGrpSpPr/>
          <p:nvPr/>
        </p:nvGrpSpPr>
        <p:grpSpPr>
          <a:xfrm>
            <a:off x="604480" y="1513955"/>
            <a:ext cx="6840228" cy="1206583"/>
            <a:chOff x="644346" y="1049955"/>
            <a:chExt cx="4113654" cy="870869"/>
          </a:xfrm>
        </p:grpSpPr>
        <p:sp>
          <p:nvSpPr>
            <p:cNvPr id="88" name="Parallelogram 5"/>
            <p:cNvSpPr/>
            <p:nvPr/>
          </p:nvSpPr>
          <p:spPr>
            <a:xfrm rot="16200000" flipV="1">
              <a:off x="2133777" y="-422629"/>
              <a:ext cx="854022" cy="3832883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0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>
                <a:solidFill>
                  <a:schemeClr val="tx1"/>
                </a:solidFill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968207" y="1049955"/>
              <a:ext cx="3789793" cy="84711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l-GR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Ίδια ανάλυση σε </a:t>
              </a:r>
              <a:r>
                <a:rPr lang="en-GB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επίπ</a:t>
              </a:r>
              <a:r>
                <a:rPr lang="en-GB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εδο</a:t>
              </a:r>
              <a:r>
                <a:rPr lang="en-GB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π</a:t>
              </a:r>
              <a:r>
                <a:rPr lang="en-GB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εριοχής</a:t>
              </a:r>
              <a:r>
                <a:rPr lang="en-GB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GB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δεδομένης</a:t>
              </a:r>
              <a:r>
                <a:rPr lang="en-GB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GB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έκτ</a:t>
              </a:r>
              <a:r>
                <a:rPr lang="en-GB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ασης με τη χρήση πολλών σταθμών</a:t>
              </a:r>
              <a:r>
                <a:rPr lang="el-GR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με την εφαρμογή μεθόδου χωρικής ολοκλήρωσης (μέσος όρος ή </a:t>
              </a:r>
              <a:r>
                <a:rPr lang="el-GR" sz="20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hiessen</a:t>
              </a:r>
              <a:r>
                <a:rPr lang="el-GR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).</a:t>
              </a:r>
              <a:endParaRPr lang="en-US" sz="2000" dirty="0">
                <a:latin typeface="Times New Roman" panose="02020603050405020304" pitchFamily="18" charset="0"/>
                <a:cs typeface="Times New Roman" pitchFamily="18" charset="0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7734296" y="1050191"/>
            <a:ext cx="1714504" cy="3293209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perspectiveLeft" fov="4200000">
                <a:rot lat="0" lon="19799993" rev="0"/>
              </a:camera>
              <a:lightRig rig="threePt" dir="t"/>
            </a:scene3d>
            <a:sp3d extrusionH="508000" prstMaterial="metal">
              <a:bevelT w="190500" h="190500"/>
            </a:sp3d>
          </a:bodyPr>
          <a:lstStyle/>
          <a:p>
            <a:pPr algn="ctr"/>
            <a:r>
              <a:rPr lang="el-GR" sz="20800" dirty="0">
                <a:solidFill>
                  <a:srgbClr val="C00000"/>
                </a:solidFill>
                <a:latin typeface="Arial Black" pitchFamily="34" charset="0"/>
                <a:cs typeface="Arial" pitchFamily="34" charset="0"/>
              </a:rPr>
              <a:t>!</a:t>
            </a:r>
            <a:endParaRPr lang="en-US" sz="20800" dirty="0">
              <a:solidFill>
                <a:srgbClr val="C00000"/>
              </a:solidFill>
              <a:latin typeface="Arial Black" pitchFamily="34" charset="0"/>
              <a:cs typeface="Arial" pitchFamily="34" charset="0"/>
            </a:endParaRPr>
          </a:p>
        </p:txBody>
      </p:sp>
      <p:sp>
        <p:nvSpPr>
          <p:cNvPr id="22" name="Parallelogram 5"/>
          <p:cNvSpPr/>
          <p:nvPr/>
        </p:nvSpPr>
        <p:spPr>
          <a:xfrm rot="16200000" flipV="1">
            <a:off x="3078467" y="1738406"/>
            <a:ext cx="1426404" cy="637438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</a:endParaRPr>
          </a:p>
        </p:txBody>
      </p:sp>
      <p:grpSp>
        <p:nvGrpSpPr>
          <p:cNvPr id="30" name="Group 29"/>
          <p:cNvGrpSpPr>
            <a:grpSpLocks noChangeAspect="1"/>
          </p:cNvGrpSpPr>
          <p:nvPr/>
        </p:nvGrpSpPr>
        <p:grpSpPr>
          <a:xfrm>
            <a:off x="8305800" y="4953000"/>
            <a:ext cx="745014" cy="1805831"/>
            <a:chOff x="3157538" y="2109788"/>
            <a:chExt cx="677863" cy="1643063"/>
          </a:xfrm>
        </p:grpSpPr>
        <p:sp>
          <p:nvSpPr>
            <p:cNvPr id="31" name="Freeform 29"/>
            <p:cNvSpPr>
              <a:spLocks noEditPoints="1"/>
            </p:cNvSpPr>
            <p:nvPr/>
          </p:nvSpPr>
          <p:spPr bwMode="auto">
            <a:xfrm>
              <a:off x="3157538" y="2109788"/>
              <a:ext cx="677863" cy="1643063"/>
            </a:xfrm>
            <a:custGeom>
              <a:avLst/>
              <a:gdLst>
                <a:gd name="T0" fmla="*/ 159 w 320"/>
                <a:gd name="T1" fmla="*/ 699 h 776"/>
                <a:gd name="T2" fmla="*/ 167 w 320"/>
                <a:gd name="T3" fmla="*/ 726 h 776"/>
                <a:gd name="T4" fmla="*/ 169 w 320"/>
                <a:gd name="T5" fmla="*/ 740 h 776"/>
                <a:gd name="T6" fmla="*/ 203 w 320"/>
                <a:gd name="T7" fmla="*/ 754 h 776"/>
                <a:gd name="T8" fmla="*/ 257 w 320"/>
                <a:gd name="T9" fmla="*/ 760 h 776"/>
                <a:gd name="T10" fmla="*/ 246 w 320"/>
                <a:gd name="T11" fmla="*/ 740 h 776"/>
                <a:gd name="T12" fmla="*/ 220 w 320"/>
                <a:gd name="T13" fmla="*/ 716 h 776"/>
                <a:gd name="T14" fmla="*/ 220 w 320"/>
                <a:gd name="T15" fmla="*/ 647 h 776"/>
                <a:gd name="T16" fmla="*/ 233 w 320"/>
                <a:gd name="T17" fmla="*/ 423 h 776"/>
                <a:gd name="T18" fmla="*/ 249 w 320"/>
                <a:gd name="T19" fmla="*/ 399 h 776"/>
                <a:gd name="T20" fmla="*/ 279 w 320"/>
                <a:gd name="T21" fmla="*/ 409 h 776"/>
                <a:gd name="T22" fmla="*/ 291 w 320"/>
                <a:gd name="T23" fmla="*/ 399 h 776"/>
                <a:gd name="T24" fmla="*/ 269 w 320"/>
                <a:gd name="T25" fmla="*/ 229 h 776"/>
                <a:gd name="T26" fmla="*/ 310 w 320"/>
                <a:gd name="T27" fmla="*/ 214 h 776"/>
                <a:gd name="T28" fmla="*/ 280 w 320"/>
                <a:gd name="T29" fmla="*/ 106 h 776"/>
                <a:gd name="T30" fmla="*/ 255 w 320"/>
                <a:gd name="T31" fmla="*/ 74 h 776"/>
                <a:gd name="T32" fmla="*/ 246 w 320"/>
                <a:gd name="T33" fmla="*/ 65 h 776"/>
                <a:gd name="T34" fmla="*/ 235 w 320"/>
                <a:gd name="T35" fmla="*/ 62 h 776"/>
                <a:gd name="T36" fmla="*/ 205 w 320"/>
                <a:gd name="T37" fmla="*/ 15 h 776"/>
                <a:gd name="T38" fmla="*/ 131 w 320"/>
                <a:gd name="T39" fmla="*/ 48 h 776"/>
                <a:gd name="T40" fmla="*/ 127 w 320"/>
                <a:gd name="T41" fmla="*/ 94 h 776"/>
                <a:gd name="T42" fmla="*/ 119 w 320"/>
                <a:gd name="T43" fmla="*/ 98 h 776"/>
                <a:gd name="T44" fmla="*/ 101 w 320"/>
                <a:gd name="T45" fmla="*/ 111 h 776"/>
                <a:gd name="T46" fmla="*/ 30 w 320"/>
                <a:gd name="T47" fmla="*/ 149 h 776"/>
                <a:gd name="T48" fmla="*/ 8 w 320"/>
                <a:gd name="T49" fmla="*/ 265 h 776"/>
                <a:gd name="T50" fmla="*/ 39 w 320"/>
                <a:gd name="T51" fmla="*/ 422 h 776"/>
                <a:gd name="T52" fmla="*/ 56 w 320"/>
                <a:gd name="T53" fmla="*/ 427 h 776"/>
                <a:gd name="T54" fmla="*/ 6 w 320"/>
                <a:gd name="T55" fmla="*/ 754 h 776"/>
                <a:gd name="T56" fmla="*/ 48 w 320"/>
                <a:gd name="T57" fmla="*/ 771 h 776"/>
                <a:gd name="T58" fmla="*/ 63 w 320"/>
                <a:gd name="T59" fmla="*/ 739 h 776"/>
                <a:gd name="T60" fmla="*/ 63 w 320"/>
                <a:gd name="T61" fmla="*/ 730 h 776"/>
                <a:gd name="T62" fmla="*/ 111 w 320"/>
                <a:gd name="T63" fmla="*/ 603 h 776"/>
                <a:gd name="T64" fmla="*/ 212 w 320"/>
                <a:gd name="T65" fmla="*/ 89 h 776"/>
                <a:gd name="T66" fmla="*/ 219 w 320"/>
                <a:gd name="T67" fmla="*/ 94 h 776"/>
                <a:gd name="T68" fmla="*/ 240 w 320"/>
                <a:gd name="T69" fmla="*/ 109 h 776"/>
                <a:gd name="T70" fmla="*/ 244 w 320"/>
                <a:gd name="T71" fmla="*/ 127 h 776"/>
                <a:gd name="T72" fmla="*/ 260 w 320"/>
                <a:gd name="T73" fmla="*/ 158 h 776"/>
                <a:gd name="T74" fmla="*/ 251 w 320"/>
                <a:gd name="T75" fmla="*/ 149 h 776"/>
                <a:gd name="T76" fmla="*/ 226 w 320"/>
                <a:gd name="T77" fmla="*/ 135 h 776"/>
                <a:gd name="T78" fmla="*/ 181 w 320"/>
                <a:gd name="T79" fmla="*/ 125 h 776"/>
                <a:gd name="T80" fmla="*/ 202 w 320"/>
                <a:gd name="T81" fmla="*/ 101 h 776"/>
                <a:gd name="T82" fmla="*/ 208 w 320"/>
                <a:gd name="T83" fmla="*/ 86 h 776"/>
                <a:gd name="T84" fmla="*/ 215 w 320"/>
                <a:gd name="T85" fmla="*/ 70 h 776"/>
                <a:gd name="T86" fmla="*/ 222 w 320"/>
                <a:gd name="T87" fmla="*/ 74 h 776"/>
                <a:gd name="T88" fmla="*/ 213 w 320"/>
                <a:gd name="T89" fmla="*/ 76 h 776"/>
                <a:gd name="T90" fmla="*/ 229 w 320"/>
                <a:gd name="T91" fmla="*/ 81 h 776"/>
                <a:gd name="T92" fmla="*/ 229 w 320"/>
                <a:gd name="T93" fmla="*/ 81 h 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0" h="776">
                  <a:moveTo>
                    <a:pt x="146" y="465"/>
                  </a:moveTo>
                  <a:cubicBezTo>
                    <a:pt x="146" y="465"/>
                    <a:pt x="158" y="671"/>
                    <a:pt x="159" y="699"/>
                  </a:cubicBezTo>
                  <a:cubicBezTo>
                    <a:pt x="160" y="728"/>
                    <a:pt x="159" y="726"/>
                    <a:pt x="159" y="726"/>
                  </a:cubicBezTo>
                  <a:cubicBezTo>
                    <a:pt x="167" y="726"/>
                    <a:pt x="167" y="726"/>
                    <a:pt x="167" y="726"/>
                  </a:cubicBezTo>
                  <a:cubicBezTo>
                    <a:pt x="167" y="726"/>
                    <a:pt x="167" y="730"/>
                    <a:pt x="168" y="733"/>
                  </a:cubicBezTo>
                  <a:cubicBezTo>
                    <a:pt x="169" y="736"/>
                    <a:pt x="166" y="738"/>
                    <a:pt x="169" y="740"/>
                  </a:cubicBezTo>
                  <a:cubicBezTo>
                    <a:pt x="172" y="743"/>
                    <a:pt x="188" y="747"/>
                    <a:pt x="191" y="747"/>
                  </a:cubicBezTo>
                  <a:cubicBezTo>
                    <a:pt x="193" y="747"/>
                    <a:pt x="198" y="748"/>
                    <a:pt x="203" y="754"/>
                  </a:cubicBezTo>
                  <a:cubicBezTo>
                    <a:pt x="207" y="760"/>
                    <a:pt x="219" y="767"/>
                    <a:pt x="229" y="768"/>
                  </a:cubicBezTo>
                  <a:cubicBezTo>
                    <a:pt x="238" y="768"/>
                    <a:pt x="257" y="763"/>
                    <a:pt x="257" y="760"/>
                  </a:cubicBezTo>
                  <a:cubicBezTo>
                    <a:pt x="257" y="757"/>
                    <a:pt x="255" y="756"/>
                    <a:pt x="255" y="756"/>
                  </a:cubicBezTo>
                  <a:cubicBezTo>
                    <a:pt x="255" y="756"/>
                    <a:pt x="256" y="749"/>
                    <a:pt x="246" y="740"/>
                  </a:cubicBezTo>
                  <a:cubicBezTo>
                    <a:pt x="237" y="731"/>
                    <a:pt x="226" y="725"/>
                    <a:pt x="222" y="720"/>
                  </a:cubicBezTo>
                  <a:cubicBezTo>
                    <a:pt x="219" y="715"/>
                    <a:pt x="220" y="716"/>
                    <a:pt x="220" y="716"/>
                  </a:cubicBezTo>
                  <a:cubicBezTo>
                    <a:pt x="223" y="717"/>
                    <a:pt x="223" y="717"/>
                    <a:pt x="223" y="717"/>
                  </a:cubicBezTo>
                  <a:cubicBezTo>
                    <a:pt x="223" y="717"/>
                    <a:pt x="219" y="675"/>
                    <a:pt x="220" y="647"/>
                  </a:cubicBezTo>
                  <a:cubicBezTo>
                    <a:pt x="221" y="619"/>
                    <a:pt x="227" y="523"/>
                    <a:pt x="229" y="503"/>
                  </a:cubicBezTo>
                  <a:cubicBezTo>
                    <a:pt x="232" y="482"/>
                    <a:pt x="234" y="433"/>
                    <a:pt x="233" y="423"/>
                  </a:cubicBezTo>
                  <a:cubicBezTo>
                    <a:pt x="232" y="413"/>
                    <a:pt x="231" y="412"/>
                    <a:pt x="231" y="412"/>
                  </a:cubicBezTo>
                  <a:cubicBezTo>
                    <a:pt x="231" y="412"/>
                    <a:pt x="235" y="401"/>
                    <a:pt x="249" y="399"/>
                  </a:cubicBezTo>
                  <a:cubicBezTo>
                    <a:pt x="262" y="398"/>
                    <a:pt x="270" y="398"/>
                    <a:pt x="270" y="398"/>
                  </a:cubicBezTo>
                  <a:cubicBezTo>
                    <a:pt x="270" y="398"/>
                    <a:pt x="273" y="404"/>
                    <a:pt x="279" y="409"/>
                  </a:cubicBezTo>
                  <a:cubicBezTo>
                    <a:pt x="285" y="414"/>
                    <a:pt x="290" y="414"/>
                    <a:pt x="290" y="414"/>
                  </a:cubicBezTo>
                  <a:cubicBezTo>
                    <a:pt x="290" y="414"/>
                    <a:pt x="292" y="406"/>
                    <a:pt x="291" y="399"/>
                  </a:cubicBezTo>
                  <a:cubicBezTo>
                    <a:pt x="291" y="391"/>
                    <a:pt x="277" y="315"/>
                    <a:pt x="275" y="296"/>
                  </a:cubicBezTo>
                  <a:cubicBezTo>
                    <a:pt x="273" y="277"/>
                    <a:pt x="269" y="229"/>
                    <a:pt x="269" y="229"/>
                  </a:cubicBezTo>
                  <a:cubicBezTo>
                    <a:pt x="285" y="221"/>
                    <a:pt x="285" y="221"/>
                    <a:pt x="285" y="221"/>
                  </a:cubicBezTo>
                  <a:cubicBezTo>
                    <a:pt x="285" y="221"/>
                    <a:pt x="303" y="220"/>
                    <a:pt x="310" y="214"/>
                  </a:cubicBezTo>
                  <a:cubicBezTo>
                    <a:pt x="317" y="208"/>
                    <a:pt x="320" y="202"/>
                    <a:pt x="315" y="179"/>
                  </a:cubicBezTo>
                  <a:cubicBezTo>
                    <a:pt x="310" y="157"/>
                    <a:pt x="287" y="117"/>
                    <a:pt x="280" y="106"/>
                  </a:cubicBezTo>
                  <a:cubicBezTo>
                    <a:pt x="273" y="94"/>
                    <a:pt x="267" y="94"/>
                    <a:pt x="267" y="94"/>
                  </a:cubicBezTo>
                  <a:cubicBezTo>
                    <a:pt x="267" y="94"/>
                    <a:pt x="257" y="77"/>
                    <a:pt x="255" y="74"/>
                  </a:cubicBezTo>
                  <a:cubicBezTo>
                    <a:pt x="252" y="70"/>
                    <a:pt x="252" y="73"/>
                    <a:pt x="251" y="71"/>
                  </a:cubicBezTo>
                  <a:cubicBezTo>
                    <a:pt x="250" y="70"/>
                    <a:pt x="248" y="67"/>
                    <a:pt x="246" y="65"/>
                  </a:cubicBezTo>
                  <a:cubicBezTo>
                    <a:pt x="243" y="64"/>
                    <a:pt x="242" y="65"/>
                    <a:pt x="239" y="64"/>
                  </a:cubicBezTo>
                  <a:cubicBezTo>
                    <a:pt x="237" y="64"/>
                    <a:pt x="239" y="63"/>
                    <a:pt x="235" y="62"/>
                  </a:cubicBezTo>
                  <a:cubicBezTo>
                    <a:pt x="232" y="61"/>
                    <a:pt x="231" y="55"/>
                    <a:pt x="228" y="51"/>
                  </a:cubicBezTo>
                  <a:cubicBezTo>
                    <a:pt x="225" y="47"/>
                    <a:pt x="227" y="30"/>
                    <a:pt x="205" y="15"/>
                  </a:cubicBezTo>
                  <a:cubicBezTo>
                    <a:pt x="182" y="0"/>
                    <a:pt x="162" y="3"/>
                    <a:pt x="150" y="12"/>
                  </a:cubicBezTo>
                  <a:cubicBezTo>
                    <a:pt x="137" y="22"/>
                    <a:pt x="132" y="44"/>
                    <a:pt x="131" y="48"/>
                  </a:cubicBezTo>
                  <a:cubicBezTo>
                    <a:pt x="130" y="52"/>
                    <a:pt x="130" y="63"/>
                    <a:pt x="130" y="77"/>
                  </a:cubicBezTo>
                  <a:cubicBezTo>
                    <a:pt x="131" y="91"/>
                    <a:pt x="127" y="94"/>
                    <a:pt x="127" y="94"/>
                  </a:cubicBezTo>
                  <a:cubicBezTo>
                    <a:pt x="127" y="94"/>
                    <a:pt x="123" y="92"/>
                    <a:pt x="121" y="94"/>
                  </a:cubicBezTo>
                  <a:cubicBezTo>
                    <a:pt x="119" y="96"/>
                    <a:pt x="119" y="98"/>
                    <a:pt x="119" y="98"/>
                  </a:cubicBezTo>
                  <a:cubicBezTo>
                    <a:pt x="119" y="98"/>
                    <a:pt x="117" y="96"/>
                    <a:pt x="113" y="100"/>
                  </a:cubicBezTo>
                  <a:cubicBezTo>
                    <a:pt x="109" y="105"/>
                    <a:pt x="102" y="111"/>
                    <a:pt x="101" y="111"/>
                  </a:cubicBezTo>
                  <a:cubicBezTo>
                    <a:pt x="99" y="111"/>
                    <a:pt x="45" y="118"/>
                    <a:pt x="41" y="121"/>
                  </a:cubicBezTo>
                  <a:cubicBezTo>
                    <a:pt x="36" y="124"/>
                    <a:pt x="35" y="138"/>
                    <a:pt x="30" y="149"/>
                  </a:cubicBezTo>
                  <a:cubicBezTo>
                    <a:pt x="25" y="160"/>
                    <a:pt x="4" y="210"/>
                    <a:pt x="3" y="223"/>
                  </a:cubicBezTo>
                  <a:cubicBezTo>
                    <a:pt x="1" y="236"/>
                    <a:pt x="0" y="260"/>
                    <a:pt x="8" y="265"/>
                  </a:cubicBezTo>
                  <a:cubicBezTo>
                    <a:pt x="16" y="269"/>
                    <a:pt x="53" y="277"/>
                    <a:pt x="53" y="277"/>
                  </a:cubicBezTo>
                  <a:cubicBezTo>
                    <a:pt x="39" y="422"/>
                    <a:pt x="39" y="422"/>
                    <a:pt x="39" y="422"/>
                  </a:cubicBezTo>
                  <a:cubicBezTo>
                    <a:pt x="39" y="422"/>
                    <a:pt x="50" y="426"/>
                    <a:pt x="52" y="427"/>
                  </a:cubicBezTo>
                  <a:cubicBezTo>
                    <a:pt x="54" y="427"/>
                    <a:pt x="56" y="427"/>
                    <a:pt x="56" y="427"/>
                  </a:cubicBezTo>
                  <a:cubicBezTo>
                    <a:pt x="56" y="427"/>
                    <a:pt x="22" y="718"/>
                    <a:pt x="19" y="722"/>
                  </a:cubicBezTo>
                  <a:cubicBezTo>
                    <a:pt x="17" y="725"/>
                    <a:pt x="5" y="746"/>
                    <a:pt x="6" y="754"/>
                  </a:cubicBezTo>
                  <a:cubicBezTo>
                    <a:pt x="6" y="762"/>
                    <a:pt x="6" y="769"/>
                    <a:pt x="9" y="771"/>
                  </a:cubicBezTo>
                  <a:cubicBezTo>
                    <a:pt x="11" y="774"/>
                    <a:pt x="42" y="776"/>
                    <a:pt x="48" y="771"/>
                  </a:cubicBezTo>
                  <a:cubicBezTo>
                    <a:pt x="54" y="766"/>
                    <a:pt x="53" y="750"/>
                    <a:pt x="55" y="747"/>
                  </a:cubicBezTo>
                  <a:cubicBezTo>
                    <a:pt x="57" y="745"/>
                    <a:pt x="62" y="742"/>
                    <a:pt x="63" y="739"/>
                  </a:cubicBezTo>
                  <a:cubicBezTo>
                    <a:pt x="64" y="736"/>
                    <a:pt x="63" y="735"/>
                    <a:pt x="63" y="735"/>
                  </a:cubicBezTo>
                  <a:cubicBezTo>
                    <a:pt x="63" y="735"/>
                    <a:pt x="64" y="732"/>
                    <a:pt x="63" y="730"/>
                  </a:cubicBezTo>
                  <a:cubicBezTo>
                    <a:pt x="62" y="728"/>
                    <a:pt x="71" y="726"/>
                    <a:pt x="71" y="726"/>
                  </a:cubicBezTo>
                  <a:cubicBezTo>
                    <a:pt x="71" y="726"/>
                    <a:pt x="101" y="648"/>
                    <a:pt x="111" y="603"/>
                  </a:cubicBezTo>
                  <a:cubicBezTo>
                    <a:pt x="120" y="558"/>
                    <a:pt x="146" y="465"/>
                    <a:pt x="146" y="465"/>
                  </a:cubicBezTo>
                  <a:close/>
                  <a:moveTo>
                    <a:pt x="212" y="89"/>
                  </a:moveTo>
                  <a:cubicBezTo>
                    <a:pt x="212" y="89"/>
                    <a:pt x="209" y="93"/>
                    <a:pt x="213" y="94"/>
                  </a:cubicBezTo>
                  <a:cubicBezTo>
                    <a:pt x="217" y="96"/>
                    <a:pt x="219" y="94"/>
                    <a:pt x="219" y="94"/>
                  </a:cubicBezTo>
                  <a:cubicBezTo>
                    <a:pt x="219" y="94"/>
                    <a:pt x="221" y="100"/>
                    <a:pt x="226" y="103"/>
                  </a:cubicBezTo>
                  <a:cubicBezTo>
                    <a:pt x="231" y="106"/>
                    <a:pt x="240" y="109"/>
                    <a:pt x="240" y="109"/>
                  </a:cubicBezTo>
                  <a:cubicBezTo>
                    <a:pt x="240" y="109"/>
                    <a:pt x="238" y="112"/>
                    <a:pt x="238" y="113"/>
                  </a:cubicBezTo>
                  <a:cubicBezTo>
                    <a:pt x="238" y="114"/>
                    <a:pt x="240" y="117"/>
                    <a:pt x="244" y="127"/>
                  </a:cubicBezTo>
                  <a:cubicBezTo>
                    <a:pt x="248" y="136"/>
                    <a:pt x="258" y="150"/>
                    <a:pt x="258" y="152"/>
                  </a:cubicBezTo>
                  <a:cubicBezTo>
                    <a:pt x="258" y="154"/>
                    <a:pt x="260" y="158"/>
                    <a:pt x="260" y="158"/>
                  </a:cubicBezTo>
                  <a:cubicBezTo>
                    <a:pt x="260" y="158"/>
                    <a:pt x="258" y="157"/>
                    <a:pt x="257" y="156"/>
                  </a:cubicBezTo>
                  <a:cubicBezTo>
                    <a:pt x="257" y="155"/>
                    <a:pt x="257" y="152"/>
                    <a:pt x="251" y="149"/>
                  </a:cubicBezTo>
                  <a:cubicBezTo>
                    <a:pt x="246" y="146"/>
                    <a:pt x="244" y="143"/>
                    <a:pt x="239" y="139"/>
                  </a:cubicBezTo>
                  <a:cubicBezTo>
                    <a:pt x="234" y="135"/>
                    <a:pt x="229" y="135"/>
                    <a:pt x="226" y="135"/>
                  </a:cubicBezTo>
                  <a:cubicBezTo>
                    <a:pt x="223" y="135"/>
                    <a:pt x="209" y="132"/>
                    <a:pt x="202" y="130"/>
                  </a:cubicBezTo>
                  <a:cubicBezTo>
                    <a:pt x="195" y="128"/>
                    <a:pt x="181" y="125"/>
                    <a:pt x="181" y="125"/>
                  </a:cubicBezTo>
                  <a:cubicBezTo>
                    <a:pt x="181" y="125"/>
                    <a:pt x="194" y="114"/>
                    <a:pt x="195" y="110"/>
                  </a:cubicBezTo>
                  <a:cubicBezTo>
                    <a:pt x="196" y="106"/>
                    <a:pt x="200" y="104"/>
                    <a:pt x="202" y="101"/>
                  </a:cubicBezTo>
                  <a:cubicBezTo>
                    <a:pt x="204" y="99"/>
                    <a:pt x="206" y="88"/>
                    <a:pt x="206" y="87"/>
                  </a:cubicBezTo>
                  <a:cubicBezTo>
                    <a:pt x="206" y="86"/>
                    <a:pt x="208" y="86"/>
                    <a:pt x="208" y="86"/>
                  </a:cubicBezTo>
                  <a:cubicBezTo>
                    <a:pt x="212" y="89"/>
                    <a:pt x="212" y="89"/>
                    <a:pt x="212" y="89"/>
                  </a:cubicBezTo>
                  <a:close/>
                  <a:moveTo>
                    <a:pt x="215" y="70"/>
                  </a:moveTo>
                  <a:cubicBezTo>
                    <a:pt x="215" y="70"/>
                    <a:pt x="222" y="69"/>
                    <a:pt x="224" y="69"/>
                  </a:cubicBezTo>
                  <a:cubicBezTo>
                    <a:pt x="227" y="69"/>
                    <a:pt x="225" y="71"/>
                    <a:pt x="222" y="74"/>
                  </a:cubicBezTo>
                  <a:cubicBezTo>
                    <a:pt x="220" y="76"/>
                    <a:pt x="217" y="80"/>
                    <a:pt x="217" y="79"/>
                  </a:cubicBezTo>
                  <a:cubicBezTo>
                    <a:pt x="216" y="78"/>
                    <a:pt x="213" y="76"/>
                    <a:pt x="213" y="76"/>
                  </a:cubicBezTo>
                  <a:cubicBezTo>
                    <a:pt x="215" y="70"/>
                    <a:pt x="215" y="70"/>
                    <a:pt x="215" y="70"/>
                  </a:cubicBezTo>
                  <a:close/>
                  <a:moveTo>
                    <a:pt x="229" y="81"/>
                  </a:moveTo>
                  <a:cubicBezTo>
                    <a:pt x="229" y="81"/>
                    <a:pt x="226" y="85"/>
                    <a:pt x="226" y="85"/>
                  </a:cubicBezTo>
                  <a:cubicBezTo>
                    <a:pt x="225" y="85"/>
                    <a:pt x="225" y="84"/>
                    <a:pt x="229" y="8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0"/>
            <p:cNvSpPr>
              <a:spLocks noEditPoints="1"/>
            </p:cNvSpPr>
            <p:nvPr/>
          </p:nvSpPr>
          <p:spPr bwMode="auto">
            <a:xfrm>
              <a:off x="3417888" y="2109788"/>
              <a:ext cx="315913" cy="304800"/>
            </a:xfrm>
            <a:custGeom>
              <a:avLst/>
              <a:gdLst>
                <a:gd name="T0" fmla="*/ 144 w 149"/>
                <a:gd name="T1" fmla="*/ 94 h 144"/>
                <a:gd name="T2" fmla="*/ 132 w 149"/>
                <a:gd name="T3" fmla="*/ 74 h 144"/>
                <a:gd name="T4" fmla="*/ 128 w 149"/>
                <a:gd name="T5" fmla="*/ 71 h 144"/>
                <a:gd name="T6" fmla="*/ 123 w 149"/>
                <a:gd name="T7" fmla="*/ 65 h 144"/>
                <a:gd name="T8" fmla="*/ 116 w 149"/>
                <a:gd name="T9" fmla="*/ 64 h 144"/>
                <a:gd name="T10" fmla="*/ 112 w 149"/>
                <a:gd name="T11" fmla="*/ 62 h 144"/>
                <a:gd name="T12" fmla="*/ 105 w 149"/>
                <a:gd name="T13" fmla="*/ 51 h 144"/>
                <a:gd name="T14" fmla="*/ 82 w 149"/>
                <a:gd name="T15" fmla="*/ 15 h 144"/>
                <a:gd name="T16" fmla="*/ 27 w 149"/>
                <a:gd name="T17" fmla="*/ 12 h 144"/>
                <a:gd name="T18" fmla="*/ 8 w 149"/>
                <a:gd name="T19" fmla="*/ 48 h 144"/>
                <a:gd name="T20" fmla="*/ 7 w 149"/>
                <a:gd name="T21" fmla="*/ 77 h 144"/>
                <a:gd name="T22" fmla="*/ 4 w 149"/>
                <a:gd name="T23" fmla="*/ 94 h 144"/>
                <a:gd name="T24" fmla="*/ 1 w 149"/>
                <a:gd name="T25" fmla="*/ 100 h 144"/>
                <a:gd name="T26" fmla="*/ 3 w 149"/>
                <a:gd name="T27" fmla="*/ 105 h 144"/>
                <a:gd name="T28" fmla="*/ 17 w 149"/>
                <a:gd name="T29" fmla="*/ 121 h 144"/>
                <a:gd name="T30" fmla="*/ 27 w 149"/>
                <a:gd name="T31" fmla="*/ 134 h 144"/>
                <a:gd name="T32" fmla="*/ 35 w 149"/>
                <a:gd name="T33" fmla="*/ 143 h 144"/>
                <a:gd name="T34" fmla="*/ 38 w 149"/>
                <a:gd name="T35" fmla="*/ 136 h 144"/>
                <a:gd name="T36" fmla="*/ 47 w 149"/>
                <a:gd name="T37" fmla="*/ 132 h 144"/>
                <a:gd name="T38" fmla="*/ 53 w 149"/>
                <a:gd name="T39" fmla="*/ 129 h 144"/>
                <a:gd name="T40" fmla="*/ 57 w 149"/>
                <a:gd name="T41" fmla="*/ 127 h 144"/>
                <a:gd name="T42" fmla="*/ 58 w 149"/>
                <a:gd name="T43" fmla="*/ 125 h 144"/>
                <a:gd name="T44" fmla="*/ 72 w 149"/>
                <a:gd name="T45" fmla="*/ 110 h 144"/>
                <a:gd name="T46" fmla="*/ 79 w 149"/>
                <a:gd name="T47" fmla="*/ 101 h 144"/>
                <a:gd name="T48" fmla="*/ 83 w 149"/>
                <a:gd name="T49" fmla="*/ 87 h 144"/>
                <a:gd name="T50" fmla="*/ 85 w 149"/>
                <a:gd name="T51" fmla="*/ 86 h 144"/>
                <a:gd name="T52" fmla="*/ 89 w 149"/>
                <a:gd name="T53" fmla="*/ 89 h 144"/>
                <a:gd name="T54" fmla="*/ 90 w 149"/>
                <a:gd name="T55" fmla="*/ 94 h 144"/>
                <a:gd name="T56" fmla="*/ 96 w 149"/>
                <a:gd name="T57" fmla="*/ 94 h 144"/>
                <a:gd name="T58" fmla="*/ 103 w 149"/>
                <a:gd name="T59" fmla="*/ 103 h 144"/>
                <a:gd name="T60" fmla="*/ 117 w 149"/>
                <a:gd name="T61" fmla="*/ 109 h 144"/>
                <a:gd name="T62" fmla="*/ 123 w 149"/>
                <a:gd name="T63" fmla="*/ 111 h 144"/>
                <a:gd name="T64" fmla="*/ 134 w 149"/>
                <a:gd name="T65" fmla="*/ 112 h 144"/>
                <a:gd name="T66" fmla="*/ 146 w 149"/>
                <a:gd name="T67" fmla="*/ 108 h 144"/>
                <a:gd name="T68" fmla="*/ 148 w 149"/>
                <a:gd name="T69" fmla="*/ 100 h 144"/>
                <a:gd name="T70" fmla="*/ 144 w 149"/>
                <a:gd name="T71" fmla="*/ 94 h 144"/>
                <a:gd name="T72" fmla="*/ 92 w 149"/>
                <a:gd name="T73" fmla="*/ 70 h 144"/>
                <a:gd name="T74" fmla="*/ 101 w 149"/>
                <a:gd name="T75" fmla="*/ 69 h 144"/>
                <a:gd name="T76" fmla="*/ 99 w 149"/>
                <a:gd name="T77" fmla="*/ 74 h 144"/>
                <a:gd name="T78" fmla="*/ 94 w 149"/>
                <a:gd name="T79" fmla="*/ 79 h 144"/>
                <a:gd name="T80" fmla="*/ 90 w 149"/>
                <a:gd name="T81" fmla="*/ 76 h 144"/>
                <a:gd name="T82" fmla="*/ 92 w 149"/>
                <a:gd name="T83" fmla="*/ 70 h 144"/>
                <a:gd name="T84" fmla="*/ 106 w 149"/>
                <a:gd name="T85" fmla="*/ 81 h 144"/>
                <a:gd name="T86" fmla="*/ 103 w 149"/>
                <a:gd name="T87" fmla="*/ 85 h 144"/>
                <a:gd name="T88" fmla="*/ 106 w 149"/>
                <a:gd name="T89" fmla="*/ 8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9" h="144">
                  <a:moveTo>
                    <a:pt x="144" y="94"/>
                  </a:moveTo>
                  <a:cubicBezTo>
                    <a:pt x="144" y="94"/>
                    <a:pt x="134" y="77"/>
                    <a:pt x="132" y="74"/>
                  </a:cubicBezTo>
                  <a:cubicBezTo>
                    <a:pt x="129" y="70"/>
                    <a:pt x="129" y="73"/>
                    <a:pt x="128" y="71"/>
                  </a:cubicBezTo>
                  <a:cubicBezTo>
                    <a:pt x="127" y="70"/>
                    <a:pt x="125" y="67"/>
                    <a:pt x="123" y="65"/>
                  </a:cubicBezTo>
                  <a:cubicBezTo>
                    <a:pt x="120" y="64"/>
                    <a:pt x="119" y="65"/>
                    <a:pt x="116" y="64"/>
                  </a:cubicBezTo>
                  <a:cubicBezTo>
                    <a:pt x="114" y="64"/>
                    <a:pt x="116" y="63"/>
                    <a:pt x="112" y="62"/>
                  </a:cubicBezTo>
                  <a:cubicBezTo>
                    <a:pt x="109" y="61"/>
                    <a:pt x="108" y="55"/>
                    <a:pt x="105" y="51"/>
                  </a:cubicBezTo>
                  <a:cubicBezTo>
                    <a:pt x="102" y="47"/>
                    <a:pt x="104" y="30"/>
                    <a:pt x="82" y="15"/>
                  </a:cubicBezTo>
                  <a:cubicBezTo>
                    <a:pt x="59" y="0"/>
                    <a:pt x="39" y="3"/>
                    <a:pt x="27" y="12"/>
                  </a:cubicBezTo>
                  <a:cubicBezTo>
                    <a:pt x="14" y="22"/>
                    <a:pt x="9" y="44"/>
                    <a:pt x="8" y="48"/>
                  </a:cubicBezTo>
                  <a:cubicBezTo>
                    <a:pt x="7" y="52"/>
                    <a:pt x="7" y="63"/>
                    <a:pt x="7" y="77"/>
                  </a:cubicBezTo>
                  <a:cubicBezTo>
                    <a:pt x="8" y="91"/>
                    <a:pt x="4" y="94"/>
                    <a:pt x="4" y="94"/>
                  </a:cubicBezTo>
                  <a:cubicBezTo>
                    <a:pt x="4" y="94"/>
                    <a:pt x="2" y="100"/>
                    <a:pt x="1" y="100"/>
                  </a:cubicBezTo>
                  <a:cubicBezTo>
                    <a:pt x="1" y="101"/>
                    <a:pt x="0" y="102"/>
                    <a:pt x="3" y="105"/>
                  </a:cubicBezTo>
                  <a:cubicBezTo>
                    <a:pt x="6" y="108"/>
                    <a:pt x="15" y="120"/>
                    <a:pt x="17" y="121"/>
                  </a:cubicBezTo>
                  <a:cubicBezTo>
                    <a:pt x="18" y="123"/>
                    <a:pt x="26" y="133"/>
                    <a:pt x="27" y="134"/>
                  </a:cubicBezTo>
                  <a:cubicBezTo>
                    <a:pt x="27" y="135"/>
                    <a:pt x="35" y="142"/>
                    <a:pt x="35" y="143"/>
                  </a:cubicBezTo>
                  <a:cubicBezTo>
                    <a:pt x="36" y="144"/>
                    <a:pt x="37" y="138"/>
                    <a:pt x="38" y="136"/>
                  </a:cubicBezTo>
                  <a:cubicBezTo>
                    <a:pt x="40" y="135"/>
                    <a:pt x="45" y="132"/>
                    <a:pt x="47" y="132"/>
                  </a:cubicBezTo>
                  <a:cubicBezTo>
                    <a:pt x="49" y="132"/>
                    <a:pt x="52" y="130"/>
                    <a:pt x="53" y="129"/>
                  </a:cubicBezTo>
                  <a:cubicBezTo>
                    <a:pt x="54" y="129"/>
                    <a:pt x="57" y="128"/>
                    <a:pt x="57" y="127"/>
                  </a:cubicBezTo>
                  <a:cubicBezTo>
                    <a:pt x="58" y="126"/>
                    <a:pt x="58" y="125"/>
                    <a:pt x="58" y="125"/>
                  </a:cubicBezTo>
                  <a:cubicBezTo>
                    <a:pt x="58" y="125"/>
                    <a:pt x="71" y="114"/>
                    <a:pt x="72" y="110"/>
                  </a:cubicBezTo>
                  <a:cubicBezTo>
                    <a:pt x="73" y="106"/>
                    <a:pt x="77" y="104"/>
                    <a:pt x="79" y="101"/>
                  </a:cubicBezTo>
                  <a:cubicBezTo>
                    <a:pt x="81" y="99"/>
                    <a:pt x="83" y="88"/>
                    <a:pt x="83" y="87"/>
                  </a:cubicBezTo>
                  <a:cubicBezTo>
                    <a:pt x="83" y="86"/>
                    <a:pt x="85" y="86"/>
                    <a:pt x="85" y="86"/>
                  </a:cubicBezTo>
                  <a:cubicBezTo>
                    <a:pt x="89" y="89"/>
                    <a:pt x="89" y="89"/>
                    <a:pt x="89" y="89"/>
                  </a:cubicBezTo>
                  <a:cubicBezTo>
                    <a:pt x="89" y="89"/>
                    <a:pt x="86" y="93"/>
                    <a:pt x="90" y="94"/>
                  </a:cubicBezTo>
                  <a:cubicBezTo>
                    <a:pt x="94" y="96"/>
                    <a:pt x="96" y="94"/>
                    <a:pt x="96" y="94"/>
                  </a:cubicBezTo>
                  <a:cubicBezTo>
                    <a:pt x="96" y="94"/>
                    <a:pt x="98" y="100"/>
                    <a:pt x="103" y="103"/>
                  </a:cubicBezTo>
                  <a:cubicBezTo>
                    <a:pt x="108" y="106"/>
                    <a:pt x="117" y="109"/>
                    <a:pt x="117" y="109"/>
                  </a:cubicBezTo>
                  <a:cubicBezTo>
                    <a:pt x="117" y="109"/>
                    <a:pt x="118" y="110"/>
                    <a:pt x="123" y="111"/>
                  </a:cubicBezTo>
                  <a:cubicBezTo>
                    <a:pt x="128" y="112"/>
                    <a:pt x="131" y="113"/>
                    <a:pt x="134" y="112"/>
                  </a:cubicBezTo>
                  <a:cubicBezTo>
                    <a:pt x="137" y="110"/>
                    <a:pt x="143" y="108"/>
                    <a:pt x="146" y="108"/>
                  </a:cubicBezTo>
                  <a:cubicBezTo>
                    <a:pt x="148" y="108"/>
                    <a:pt x="149" y="101"/>
                    <a:pt x="148" y="100"/>
                  </a:cubicBezTo>
                  <a:cubicBezTo>
                    <a:pt x="148" y="99"/>
                    <a:pt x="144" y="96"/>
                    <a:pt x="144" y="94"/>
                  </a:cubicBezTo>
                  <a:close/>
                  <a:moveTo>
                    <a:pt x="92" y="70"/>
                  </a:moveTo>
                  <a:cubicBezTo>
                    <a:pt x="92" y="70"/>
                    <a:pt x="99" y="69"/>
                    <a:pt x="101" y="69"/>
                  </a:cubicBezTo>
                  <a:cubicBezTo>
                    <a:pt x="104" y="69"/>
                    <a:pt x="102" y="71"/>
                    <a:pt x="99" y="74"/>
                  </a:cubicBezTo>
                  <a:cubicBezTo>
                    <a:pt x="97" y="76"/>
                    <a:pt x="94" y="80"/>
                    <a:pt x="94" y="79"/>
                  </a:cubicBezTo>
                  <a:cubicBezTo>
                    <a:pt x="93" y="78"/>
                    <a:pt x="90" y="76"/>
                    <a:pt x="90" y="76"/>
                  </a:cubicBezTo>
                  <a:cubicBezTo>
                    <a:pt x="92" y="70"/>
                    <a:pt x="92" y="70"/>
                    <a:pt x="92" y="70"/>
                  </a:cubicBezTo>
                  <a:close/>
                  <a:moveTo>
                    <a:pt x="106" y="81"/>
                  </a:moveTo>
                  <a:cubicBezTo>
                    <a:pt x="106" y="81"/>
                    <a:pt x="103" y="85"/>
                    <a:pt x="103" y="85"/>
                  </a:cubicBezTo>
                  <a:cubicBezTo>
                    <a:pt x="102" y="85"/>
                    <a:pt x="102" y="84"/>
                    <a:pt x="106" y="81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1"/>
            <p:cNvSpPr>
              <a:spLocks/>
            </p:cNvSpPr>
            <p:nvPr/>
          </p:nvSpPr>
          <p:spPr bwMode="auto">
            <a:xfrm>
              <a:off x="3430588" y="2109788"/>
              <a:ext cx="207963" cy="193675"/>
            </a:xfrm>
            <a:custGeom>
              <a:avLst/>
              <a:gdLst>
                <a:gd name="T0" fmla="*/ 98 w 98"/>
                <a:gd name="T1" fmla="*/ 50 h 91"/>
                <a:gd name="T2" fmla="*/ 76 w 98"/>
                <a:gd name="T3" fmla="*/ 15 h 91"/>
                <a:gd name="T4" fmla="*/ 21 w 98"/>
                <a:gd name="T5" fmla="*/ 12 h 91"/>
                <a:gd name="T6" fmla="*/ 2 w 98"/>
                <a:gd name="T7" fmla="*/ 48 h 91"/>
                <a:gd name="T8" fmla="*/ 1 w 98"/>
                <a:gd name="T9" fmla="*/ 77 h 91"/>
                <a:gd name="T10" fmla="*/ 0 w 98"/>
                <a:gd name="T11" fmla="*/ 91 h 91"/>
                <a:gd name="T12" fmla="*/ 6 w 98"/>
                <a:gd name="T13" fmla="*/ 86 h 91"/>
                <a:gd name="T14" fmla="*/ 2 w 98"/>
                <a:gd name="T15" fmla="*/ 58 h 91"/>
                <a:gd name="T16" fmla="*/ 10 w 98"/>
                <a:gd name="T17" fmla="*/ 46 h 91"/>
                <a:gd name="T18" fmla="*/ 18 w 98"/>
                <a:gd name="T19" fmla="*/ 53 h 91"/>
                <a:gd name="T20" fmla="*/ 20 w 98"/>
                <a:gd name="T21" fmla="*/ 66 h 91"/>
                <a:gd name="T22" fmla="*/ 21 w 98"/>
                <a:gd name="T23" fmla="*/ 71 h 91"/>
                <a:gd name="T24" fmla="*/ 32 w 98"/>
                <a:gd name="T25" fmla="*/ 57 h 91"/>
                <a:gd name="T26" fmla="*/ 42 w 98"/>
                <a:gd name="T27" fmla="*/ 53 h 91"/>
                <a:gd name="T28" fmla="*/ 49 w 98"/>
                <a:gd name="T29" fmla="*/ 49 h 91"/>
                <a:gd name="T30" fmla="*/ 54 w 98"/>
                <a:gd name="T31" fmla="*/ 40 h 91"/>
                <a:gd name="T32" fmla="*/ 62 w 98"/>
                <a:gd name="T33" fmla="*/ 41 h 91"/>
                <a:gd name="T34" fmla="*/ 57 w 98"/>
                <a:gd name="T35" fmla="*/ 48 h 91"/>
                <a:gd name="T36" fmla="*/ 65 w 98"/>
                <a:gd name="T37" fmla="*/ 46 h 91"/>
                <a:gd name="T38" fmla="*/ 66 w 98"/>
                <a:gd name="T39" fmla="*/ 52 h 91"/>
                <a:gd name="T40" fmla="*/ 71 w 98"/>
                <a:gd name="T41" fmla="*/ 53 h 91"/>
                <a:gd name="T42" fmla="*/ 72 w 98"/>
                <a:gd name="T43" fmla="*/ 55 h 91"/>
                <a:gd name="T44" fmla="*/ 76 w 98"/>
                <a:gd name="T45" fmla="*/ 56 h 91"/>
                <a:gd name="T46" fmla="*/ 76 w 98"/>
                <a:gd name="T47" fmla="*/ 59 h 91"/>
                <a:gd name="T48" fmla="*/ 81 w 98"/>
                <a:gd name="T49" fmla="*/ 58 h 91"/>
                <a:gd name="T50" fmla="*/ 83 w 98"/>
                <a:gd name="T51" fmla="*/ 61 h 91"/>
                <a:gd name="T52" fmla="*/ 87 w 98"/>
                <a:gd name="T53" fmla="*/ 62 h 91"/>
                <a:gd name="T54" fmla="*/ 94 w 98"/>
                <a:gd name="T55" fmla="*/ 62 h 91"/>
                <a:gd name="T56" fmla="*/ 95 w 98"/>
                <a:gd name="T57" fmla="*/ 56 h 91"/>
                <a:gd name="T58" fmla="*/ 98 w 98"/>
                <a:gd name="T59" fmla="*/ 5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8" h="91">
                  <a:moveTo>
                    <a:pt x="98" y="50"/>
                  </a:moveTo>
                  <a:cubicBezTo>
                    <a:pt x="96" y="44"/>
                    <a:pt x="96" y="28"/>
                    <a:pt x="76" y="15"/>
                  </a:cubicBezTo>
                  <a:cubicBezTo>
                    <a:pt x="53" y="0"/>
                    <a:pt x="33" y="3"/>
                    <a:pt x="21" y="12"/>
                  </a:cubicBezTo>
                  <a:cubicBezTo>
                    <a:pt x="8" y="22"/>
                    <a:pt x="3" y="44"/>
                    <a:pt x="2" y="48"/>
                  </a:cubicBezTo>
                  <a:cubicBezTo>
                    <a:pt x="1" y="52"/>
                    <a:pt x="1" y="63"/>
                    <a:pt x="1" y="77"/>
                  </a:cubicBezTo>
                  <a:cubicBezTo>
                    <a:pt x="1" y="83"/>
                    <a:pt x="1" y="88"/>
                    <a:pt x="0" y="91"/>
                  </a:cubicBezTo>
                  <a:cubicBezTo>
                    <a:pt x="0" y="91"/>
                    <a:pt x="5" y="90"/>
                    <a:pt x="6" y="86"/>
                  </a:cubicBezTo>
                  <a:cubicBezTo>
                    <a:pt x="7" y="81"/>
                    <a:pt x="0" y="70"/>
                    <a:pt x="2" y="58"/>
                  </a:cubicBezTo>
                  <a:cubicBezTo>
                    <a:pt x="5" y="46"/>
                    <a:pt x="8" y="45"/>
                    <a:pt x="10" y="46"/>
                  </a:cubicBezTo>
                  <a:cubicBezTo>
                    <a:pt x="12" y="46"/>
                    <a:pt x="17" y="48"/>
                    <a:pt x="18" y="53"/>
                  </a:cubicBezTo>
                  <a:cubicBezTo>
                    <a:pt x="20" y="58"/>
                    <a:pt x="21" y="64"/>
                    <a:pt x="20" y="66"/>
                  </a:cubicBezTo>
                  <a:cubicBezTo>
                    <a:pt x="19" y="68"/>
                    <a:pt x="19" y="72"/>
                    <a:pt x="21" y="71"/>
                  </a:cubicBezTo>
                  <a:cubicBezTo>
                    <a:pt x="24" y="70"/>
                    <a:pt x="28" y="60"/>
                    <a:pt x="32" y="57"/>
                  </a:cubicBezTo>
                  <a:cubicBezTo>
                    <a:pt x="35" y="54"/>
                    <a:pt x="39" y="53"/>
                    <a:pt x="42" y="53"/>
                  </a:cubicBezTo>
                  <a:cubicBezTo>
                    <a:pt x="46" y="53"/>
                    <a:pt x="49" y="53"/>
                    <a:pt x="49" y="49"/>
                  </a:cubicBezTo>
                  <a:cubicBezTo>
                    <a:pt x="49" y="46"/>
                    <a:pt x="52" y="41"/>
                    <a:pt x="54" y="40"/>
                  </a:cubicBezTo>
                  <a:cubicBezTo>
                    <a:pt x="56" y="40"/>
                    <a:pt x="60" y="42"/>
                    <a:pt x="62" y="41"/>
                  </a:cubicBezTo>
                  <a:cubicBezTo>
                    <a:pt x="63" y="40"/>
                    <a:pt x="52" y="49"/>
                    <a:pt x="57" y="48"/>
                  </a:cubicBezTo>
                  <a:cubicBezTo>
                    <a:pt x="61" y="46"/>
                    <a:pt x="67" y="43"/>
                    <a:pt x="65" y="46"/>
                  </a:cubicBezTo>
                  <a:cubicBezTo>
                    <a:pt x="63" y="50"/>
                    <a:pt x="60" y="55"/>
                    <a:pt x="66" y="52"/>
                  </a:cubicBezTo>
                  <a:cubicBezTo>
                    <a:pt x="72" y="48"/>
                    <a:pt x="72" y="50"/>
                    <a:pt x="71" y="53"/>
                  </a:cubicBezTo>
                  <a:cubicBezTo>
                    <a:pt x="70" y="55"/>
                    <a:pt x="69" y="58"/>
                    <a:pt x="72" y="55"/>
                  </a:cubicBezTo>
                  <a:cubicBezTo>
                    <a:pt x="76" y="52"/>
                    <a:pt x="78" y="52"/>
                    <a:pt x="76" y="56"/>
                  </a:cubicBezTo>
                  <a:cubicBezTo>
                    <a:pt x="74" y="59"/>
                    <a:pt x="73" y="61"/>
                    <a:pt x="76" y="59"/>
                  </a:cubicBezTo>
                  <a:cubicBezTo>
                    <a:pt x="79" y="56"/>
                    <a:pt x="81" y="57"/>
                    <a:pt x="81" y="58"/>
                  </a:cubicBezTo>
                  <a:cubicBezTo>
                    <a:pt x="81" y="60"/>
                    <a:pt x="80" y="63"/>
                    <a:pt x="83" y="61"/>
                  </a:cubicBezTo>
                  <a:cubicBezTo>
                    <a:pt x="87" y="59"/>
                    <a:pt x="87" y="61"/>
                    <a:pt x="87" y="62"/>
                  </a:cubicBezTo>
                  <a:cubicBezTo>
                    <a:pt x="88" y="62"/>
                    <a:pt x="93" y="63"/>
                    <a:pt x="94" y="62"/>
                  </a:cubicBezTo>
                  <a:cubicBezTo>
                    <a:pt x="96" y="61"/>
                    <a:pt x="96" y="57"/>
                    <a:pt x="95" y="56"/>
                  </a:cubicBezTo>
                  <a:cubicBezTo>
                    <a:pt x="94" y="55"/>
                    <a:pt x="95" y="49"/>
                    <a:pt x="98" y="5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3"/>
            <p:cNvSpPr>
              <a:spLocks noEditPoints="1"/>
            </p:cNvSpPr>
            <p:nvPr/>
          </p:nvSpPr>
          <p:spPr bwMode="auto">
            <a:xfrm>
              <a:off x="3665538" y="2316163"/>
              <a:ext cx="77788" cy="34925"/>
            </a:xfrm>
            <a:custGeom>
              <a:avLst/>
              <a:gdLst>
                <a:gd name="T0" fmla="*/ 1 w 36"/>
                <a:gd name="T1" fmla="*/ 12 h 17"/>
                <a:gd name="T2" fmla="*/ 2 w 36"/>
                <a:gd name="T3" fmla="*/ 16 h 17"/>
                <a:gd name="T4" fmla="*/ 13 w 36"/>
                <a:gd name="T5" fmla="*/ 15 h 17"/>
                <a:gd name="T6" fmla="*/ 6 w 36"/>
                <a:gd name="T7" fmla="*/ 14 h 17"/>
                <a:gd name="T8" fmla="*/ 1 w 36"/>
                <a:gd name="T9" fmla="*/ 12 h 17"/>
                <a:gd name="T10" fmla="*/ 18 w 36"/>
                <a:gd name="T11" fmla="*/ 14 h 17"/>
                <a:gd name="T12" fmla="*/ 25 w 36"/>
                <a:gd name="T13" fmla="*/ 15 h 17"/>
                <a:gd name="T14" fmla="*/ 35 w 36"/>
                <a:gd name="T15" fmla="*/ 11 h 17"/>
                <a:gd name="T16" fmla="*/ 29 w 36"/>
                <a:gd name="T17" fmla="*/ 0 h 17"/>
                <a:gd name="T18" fmla="*/ 29 w 36"/>
                <a:gd name="T19" fmla="*/ 0 h 17"/>
                <a:gd name="T20" fmla="*/ 31 w 36"/>
                <a:gd name="T21" fmla="*/ 3 h 17"/>
                <a:gd name="T22" fmla="*/ 29 w 36"/>
                <a:gd name="T23" fmla="*/ 11 h 17"/>
                <a:gd name="T24" fmla="*/ 18 w 36"/>
                <a:gd name="T25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6" h="17">
                  <a:moveTo>
                    <a:pt x="1" y="12"/>
                  </a:moveTo>
                  <a:cubicBezTo>
                    <a:pt x="0" y="14"/>
                    <a:pt x="0" y="15"/>
                    <a:pt x="2" y="16"/>
                  </a:cubicBezTo>
                  <a:cubicBezTo>
                    <a:pt x="4" y="17"/>
                    <a:pt x="9" y="16"/>
                    <a:pt x="13" y="15"/>
                  </a:cubicBezTo>
                  <a:cubicBezTo>
                    <a:pt x="11" y="15"/>
                    <a:pt x="9" y="14"/>
                    <a:pt x="6" y="14"/>
                  </a:cubicBezTo>
                  <a:cubicBezTo>
                    <a:pt x="3" y="13"/>
                    <a:pt x="2" y="13"/>
                    <a:pt x="1" y="12"/>
                  </a:cubicBezTo>
                  <a:close/>
                  <a:moveTo>
                    <a:pt x="18" y="14"/>
                  </a:moveTo>
                  <a:cubicBezTo>
                    <a:pt x="20" y="15"/>
                    <a:pt x="22" y="15"/>
                    <a:pt x="25" y="15"/>
                  </a:cubicBezTo>
                  <a:cubicBezTo>
                    <a:pt x="30" y="15"/>
                    <a:pt x="34" y="12"/>
                    <a:pt x="35" y="11"/>
                  </a:cubicBezTo>
                  <a:cubicBezTo>
                    <a:pt x="36" y="9"/>
                    <a:pt x="35" y="1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0" y="1"/>
                    <a:pt x="31" y="2"/>
                    <a:pt x="31" y="3"/>
                  </a:cubicBezTo>
                  <a:cubicBezTo>
                    <a:pt x="32" y="4"/>
                    <a:pt x="31" y="11"/>
                    <a:pt x="29" y="11"/>
                  </a:cubicBezTo>
                  <a:cubicBezTo>
                    <a:pt x="26" y="11"/>
                    <a:pt x="21" y="13"/>
                    <a:pt x="18" y="14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auto">
            <a:xfrm>
              <a:off x="3511550" y="2493963"/>
              <a:ext cx="322263" cy="146050"/>
            </a:xfrm>
            <a:custGeom>
              <a:avLst/>
              <a:gdLst>
                <a:gd name="T0" fmla="*/ 6 w 152"/>
                <a:gd name="T1" fmla="*/ 53 h 69"/>
                <a:gd name="T2" fmla="*/ 16 w 152"/>
                <a:gd name="T3" fmla="*/ 50 h 69"/>
                <a:gd name="T4" fmla="*/ 75 w 152"/>
                <a:gd name="T5" fmla="*/ 10 h 69"/>
                <a:gd name="T6" fmla="*/ 89 w 152"/>
                <a:gd name="T7" fmla="*/ 0 h 69"/>
                <a:gd name="T8" fmla="*/ 152 w 152"/>
                <a:gd name="T9" fmla="*/ 19 h 69"/>
                <a:gd name="T10" fmla="*/ 152 w 152"/>
                <a:gd name="T11" fmla="*/ 23 h 69"/>
                <a:gd name="T12" fmla="*/ 117 w 152"/>
                <a:gd name="T13" fmla="*/ 41 h 69"/>
                <a:gd name="T14" fmla="*/ 49 w 152"/>
                <a:gd name="T15" fmla="*/ 69 h 69"/>
                <a:gd name="T16" fmla="*/ 6 w 152"/>
                <a:gd name="T17" fmla="*/ 5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69">
                  <a:moveTo>
                    <a:pt x="6" y="53"/>
                  </a:moveTo>
                  <a:cubicBezTo>
                    <a:pt x="9" y="52"/>
                    <a:pt x="12" y="51"/>
                    <a:pt x="16" y="50"/>
                  </a:cubicBezTo>
                  <a:cubicBezTo>
                    <a:pt x="16" y="50"/>
                    <a:pt x="70" y="14"/>
                    <a:pt x="75" y="10"/>
                  </a:cubicBezTo>
                  <a:cubicBezTo>
                    <a:pt x="80" y="7"/>
                    <a:pt x="89" y="0"/>
                    <a:pt x="89" y="0"/>
                  </a:cubicBezTo>
                  <a:cubicBezTo>
                    <a:pt x="89" y="0"/>
                    <a:pt x="129" y="17"/>
                    <a:pt x="152" y="19"/>
                  </a:cubicBezTo>
                  <a:cubicBezTo>
                    <a:pt x="152" y="23"/>
                    <a:pt x="152" y="23"/>
                    <a:pt x="152" y="23"/>
                  </a:cubicBezTo>
                  <a:cubicBezTo>
                    <a:pt x="140" y="29"/>
                    <a:pt x="128" y="35"/>
                    <a:pt x="117" y="41"/>
                  </a:cubicBezTo>
                  <a:cubicBezTo>
                    <a:pt x="94" y="50"/>
                    <a:pt x="72" y="59"/>
                    <a:pt x="49" y="69"/>
                  </a:cubicBezTo>
                  <a:cubicBezTo>
                    <a:pt x="49" y="69"/>
                    <a:pt x="0" y="61"/>
                    <a:pt x="6" y="53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5"/>
            <p:cNvSpPr>
              <a:spLocks noEditPoints="1"/>
            </p:cNvSpPr>
            <p:nvPr/>
          </p:nvSpPr>
          <p:spPr bwMode="auto">
            <a:xfrm>
              <a:off x="3509963" y="2493963"/>
              <a:ext cx="323850" cy="146050"/>
            </a:xfrm>
            <a:custGeom>
              <a:avLst/>
              <a:gdLst>
                <a:gd name="T0" fmla="*/ 6 w 153"/>
                <a:gd name="T1" fmla="*/ 52 h 69"/>
                <a:gd name="T2" fmla="*/ 16 w 153"/>
                <a:gd name="T3" fmla="*/ 49 h 69"/>
                <a:gd name="T4" fmla="*/ 76 w 153"/>
                <a:gd name="T5" fmla="*/ 10 h 69"/>
                <a:gd name="T6" fmla="*/ 90 w 153"/>
                <a:gd name="T7" fmla="*/ 0 h 69"/>
                <a:gd name="T8" fmla="*/ 90 w 153"/>
                <a:gd name="T9" fmla="*/ 0 h 69"/>
                <a:gd name="T10" fmla="*/ 91 w 153"/>
                <a:gd name="T11" fmla="*/ 0 h 69"/>
                <a:gd name="T12" fmla="*/ 153 w 153"/>
                <a:gd name="T13" fmla="*/ 18 h 69"/>
                <a:gd name="T14" fmla="*/ 153 w 153"/>
                <a:gd name="T15" fmla="*/ 18 h 69"/>
                <a:gd name="T16" fmla="*/ 153 w 153"/>
                <a:gd name="T17" fmla="*/ 19 h 69"/>
                <a:gd name="T18" fmla="*/ 153 w 153"/>
                <a:gd name="T19" fmla="*/ 23 h 69"/>
                <a:gd name="T20" fmla="*/ 153 w 153"/>
                <a:gd name="T21" fmla="*/ 23 h 69"/>
                <a:gd name="T22" fmla="*/ 153 w 153"/>
                <a:gd name="T23" fmla="*/ 24 h 69"/>
                <a:gd name="T24" fmla="*/ 118 w 153"/>
                <a:gd name="T25" fmla="*/ 41 h 69"/>
                <a:gd name="T26" fmla="*/ 118 w 153"/>
                <a:gd name="T27" fmla="*/ 41 h 69"/>
                <a:gd name="T28" fmla="*/ 50 w 153"/>
                <a:gd name="T29" fmla="*/ 69 h 69"/>
                <a:gd name="T30" fmla="*/ 50 w 153"/>
                <a:gd name="T31" fmla="*/ 69 h 69"/>
                <a:gd name="T32" fmla="*/ 50 w 153"/>
                <a:gd name="T33" fmla="*/ 69 h 69"/>
                <a:gd name="T34" fmla="*/ 6 w 153"/>
                <a:gd name="T35" fmla="*/ 53 h 69"/>
                <a:gd name="T36" fmla="*/ 6 w 153"/>
                <a:gd name="T37" fmla="*/ 52 h 69"/>
                <a:gd name="T38" fmla="*/ 6 w 153"/>
                <a:gd name="T39" fmla="*/ 52 h 69"/>
                <a:gd name="T40" fmla="*/ 17 w 153"/>
                <a:gd name="T41" fmla="*/ 50 h 69"/>
                <a:gd name="T42" fmla="*/ 7 w 153"/>
                <a:gd name="T43" fmla="*/ 53 h 69"/>
                <a:gd name="T44" fmla="*/ 50 w 153"/>
                <a:gd name="T45" fmla="*/ 68 h 69"/>
                <a:gd name="T46" fmla="*/ 118 w 153"/>
                <a:gd name="T47" fmla="*/ 41 h 69"/>
                <a:gd name="T48" fmla="*/ 152 w 153"/>
                <a:gd name="T49" fmla="*/ 23 h 69"/>
                <a:gd name="T50" fmla="*/ 152 w 153"/>
                <a:gd name="T51" fmla="*/ 19 h 69"/>
                <a:gd name="T52" fmla="*/ 91 w 153"/>
                <a:gd name="T53" fmla="*/ 1 h 69"/>
                <a:gd name="T54" fmla="*/ 76 w 153"/>
                <a:gd name="T55" fmla="*/ 11 h 69"/>
                <a:gd name="T56" fmla="*/ 17 w 153"/>
                <a:gd name="T57" fmla="*/ 50 h 69"/>
                <a:gd name="T58" fmla="*/ 17 w 153"/>
                <a:gd name="T59" fmla="*/ 5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" h="69">
                  <a:moveTo>
                    <a:pt x="6" y="52"/>
                  </a:moveTo>
                  <a:cubicBezTo>
                    <a:pt x="16" y="49"/>
                    <a:pt x="16" y="49"/>
                    <a:pt x="16" y="49"/>
                  </a:cubicBezTo>
                  <a:cubicBezTo>
                    <a:pt x="18" y="48"/>
                    <a:pt x="71" y="14"/>
                    <a:pt x="76" y="10"/>
                  </a:cubicBezTo>
                  <a:cubicBezTo>
                    <a:pt x="80" y="7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130" y="16"/>
                    <a:pt x="153" y="18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23"/>
                    <a:pt x="153" y="23"/>
                    <a:pt x="153" y="23"/>
                  </a:cubicBezTo>
                  <a:cubicBezTo>
                    <a:pt x="153" y="23"/>
                    <a:pt x="153" y="23"/>
                    <a:pt x="153" y="23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69"/>
                    <a:pt x="0" y="61"/>
                    <a:pt x="6" y="53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lose/>
                  <a:moveTo>
                    <a:pt x="17" y="50"/>
                  </a:moveTo>
                  <a:cubicBezTo>
                    <a:pt x="7" y="53"/>
                    <a:pt x="7" y="53"/>
                    <a:pt x="7" y="53"/>
                  </a:cubicBezTo>
                  <a:cubicBezTo>
                    <a:pt x="2" y="60"/>
                    <a:pt x="48" y="68"/>
                    <a:pt x="50" y="68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52" y="23"/>
                    <a:pt x="152" y="23"/>
                    <a:pt x="152" y="23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31" y="17"/>
                    <a:pt x="93" y="2"/>
                    <a:pt x="91" y="1"/>
                  </a:cubicBezTo>
                  <a:cubicBezTo>
                    <a:pt x="89" y="1"/>
                    <a:pt x="80" y="7"/>
                    <a:pt x="76" y="11"/>
                  </a:cubicBezTo>
                  <a:cubicBezTo>
                    <a:pt x="71" y="14"/>
                    <a:pt x="17" y="50"/>
                    <a:pt x="17" y="50"/>
                  </a:cubicBezTo>
                  <a:cubicBezTo>
                    <a:pt x="17" y="50"/>
                    <a:pt x="17" y="50"/>
                    <a:pt x="17" y="50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auto">
            <a:xfrm>
              <a:off x="3530600" y="2514600"/>
              <a:ext cx="303213" cy="95250"/>
            </a:xfrm>
            <a:custGeom>
              <a:avLst/>
              <a:gdLst>
                <a:gd name="T0" fmla="*/ 0 w 191"/>
                <a:gd name="T1" fmla="*/ 59 h 60"/>
                <a:gd name="T2" fmla="*/ 110 w 191"/>
                <a:gd name="T3" fmla="*/ 0 h 60"/>
                <a:gd name="T4" fmla="*/ 191 w 191"/>
                <a:gd name="T5" fmla="*/ 12 h 60"/>
                <a:gd name="T6" fmla="*/ 191 w 191"/>
                <a:gd name="T7" fmla="*/ 17 h 60"/>
                <a:gd name="T8" fmla="*/ 111 w 191"/>
                <a:gd name="T9" fmla="*/ 7 h 60"/>
                <a:gd name="T10" fmla="*/ 8 w 191"/>
                <a:gd name="T11" fmla="*/ 60 h 60"/>
                <a:gd name="T12" fmla="*/ 0 w 191"/>
                <a:gd name="T13" fmla="*/ 5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0">
                  <a:moveTo>
                    <a:pt x="0" y="59"/>
                  </a:moveTo>
                  <a:lnTo>
                    <a:pt x="110" y="0"/>
                  </a:lnTo>
                  <a:lnTo>
                    <a:pt x="191" y="12"/>
                  </a:lnTo>
                  <a:lnTo>
                    <a:pt x="191" y="17"/>
                  </a:lnTo>
                  <a:lnTo>
                    <a:pt x="111" y="7"/>
                  </a:lnTo>
                  <a:lnTo>
                    <a:pt x="8" y="6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7"/>
            <p:cNvSpPr>
              <a:spLocks noEditPoints="1"/>
            </p:cNvSpPr>
            <p:nvPr/>
          </p:nvSpPr>
          <p:spPr bwMode="auto">
            <a:xfrm>
              <a:off x="3530600" y="2513013"/>
              <a:ext cx="303213" cy="96838"/>
            </a:xfrm>
            <a:custGeom>
              <a:avLst/>
              <a:gdLst>
                <a:gd name="T0" fmla="*/ 0 w 191"/>
                <a:gd name="T1" fmla="*/ 60 h 61"/>
                <a:gd name="T2" fmla="*/ 110 w 191"/>
                <a:gd name="T3" fmla="*/ 0 h 61"/>
                <a:gd name="T4" fmla="*/ 110 w 191"/>
                <a:gd name="T5" fmla="*/ 0 h 61"/>
                <a:gd name="T6" fmla="*/ 110 w 191"/>
                <a:gd name="T7" fmla="*/ 0 h 61"/>
                <a:gd name="T8" fmla="*/ 191 w 191"/>
                <a:gd name="T9" fmla="*/ 12 h 61"/>
                <a:gd name="T10" fmla="*/ 191 w 191"/>
                <a:gd name="T11" fmla="*/ 12 h 61"/>
                <a:gd name="T12" fmla="*/ 191 w 191"/>
                <a:gd name="T13" fmla="*/ 13 h 61"/>
                <a:gd name="T14" fmla="*/ 191 w 191"/>
                <a:gd name="T15" fmla="*/ 18 h 61"/>
                <a:gd name="T16" fmla="*/ 111 w 191"/>
                <a:gd name="T17" fmla="*/ 9 h 61"/>
                <a:gd name="T18" fmla="*/ 8 w 191"/>
                <a:gd name="T19" fmla="*/ 61 h 61"/>
                <a:gd name="T20" fmla="*/ 8 w 191"/>
                <a:gd name="T21" fmla="*/ 61 h 61"/>
                <a:gd name="T22" fmla="*/ 8 w 191"/>
                <a:gd name="T23" fmla="*/ 61 h 61"/>
                <a:gd name="T24" fmla="*/ 0 w 191"/>
                <a:gd name="T25" fmla="*/ 60 h 61"/>
                <a:gd name="T26" fmla="*/ 0 w 191"/>
                <a:gd name="T27" fmla="*/ 60 h 61"/>
                <a:gd name="T28" fmla="*/ 0 w 191"/>
                <a:gd name="T29" fmla="*/ 60 h 61"/>
                <a:gd name="T30" fmla="*/ 110 w 191"/>
                <a:gd name="T31" fmla="*/ 1 h 61"/>
                <a:gd name="T32" fmla="*/ 1 w 191"/>
                <a:gd name="T33" fmla="*/ 60 h 61"/>
                <a:gd name="T34" fmla="*/ 8 w 191"/>
                <a:gd name="T35" fmla="*/ 61 h 61"/>
                <a:gd name="T36" fmla="*/ 111 w 191"/>
                <a:gd name="T37" fmla="*/ 8 h 61"/>
                <a:gd name="T38" fmla="*/ 111 w 191"/>
                <a:gd name="T39" fmla="*/ 8 h 61"/>
                <a:gd name="T40" fmla="*/ 111 w 191"/>
                <a:gd name="T41" fmla="*/ 8 h 61"/>
                <a:gd name="T42" fmla="*/ 190 w 191"/>
                <a:gd name="T43" fmla="*/ 18 h 61"/>
                <a:gd name="T44" fmla="*/ 190 w 191"/>
                <a:gd name="T45" fmla="*/ 13 h 61"/>
                <a:gd name="T46" fmla="*/ 110 w 191"/>
                <a:gd name="T47" fmla="*/ 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1" h="61">
                  <a:moveTo>
                    <a:pt x="0" y="60"/>
                  </a:moveTo>
                  <a:lnTo>
                    <a:pt x="110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91" y="12"/>
                  </a:lnTo>
                  <a:lnTo>
                    <a:pt x="191" y="12"/>
                  </a:lnTo>
                  <a:lnTo>
                    <a:pt x="191" y="13"/>
                  </a:lnTo>
                  <a:lnTo>
                    <a:pt x="191" y="18"/>
                  </a:lnTo>
                  <a:lnTo>
                    <a:pt x="111" y="9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close/>
                  <a:moveTo>
                    <a:pt x="110" y="1"/>
                  </a:moveTo>
                  <a:lnTo>
                    <a:pt x="1" y="60"/>
                  </a:lnTo>
                  <a:lnTo>
                    <a:pt x="8" y="61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90" y="18"/>
                  </a:lnTo>
                  <a:lnTo>
                    <a:pt x="190" y="13"/>
                  </a:lnTo>
                  <a:lnTo>
                    <a:pt x="110" y="1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auto">
            <a:xfrm>
              <a:off x="3535363" y="2525713"/>
              <a:ext cx="298450" cy="114300"/>
            </a:xfrm>
            <a:custGeom>
              <a:avLst/>
              <a:gdLst>
                <a:gd name="T0" fmla="*/ 141 w 141"/>
                <a:gd name="T1" fmla="*/ 8 h 54"/>
                <a:gd name="T2" fmla="*/ 106 w 141"/>
                <a:gd name="T3" fmla="*/ 26 h 54"/>
                <a:gd name="T4" fmla="*/ 38 w 141"/>
                <a:gd name="T5" fmla="*/ 54 h 54"/>
                <a:gd name="T6" fmla="*/ 2 w 141"/>
                <a:gd name="T7" fmla="*/ 45 h 54"/>
                <a:gd name="T8" fmla="*/ 1 w 141"/>
                <a:gd name="T9" fmla="*/ 42 h 54"/>
                <a:gd name="T10" fmla="*/ 4 w 141"/>
                <a:gd name="T11" fmla="*/ 40 h 54"/>
                <a:gd name="T12" fmla="*/ 81 w 141"/>
                <a:gd name="T13" fmla="*/ 0 h 54"/>
                <a:gd name="T14" fmla="*/ 141 w 141"/>
                <a:gd name="T15" fmla="*/ 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1" h="54">
                  <a:moveTo>
                    <a:pt x="141" y="8"/>
                  </a:moveTo>
                  <a:cubicBezTo>
                    <a:pt x="129" y="14"/>
                    <a:pt x="117" y="20"/>
                    <a:pt x="106" y="26"/>
                  </a:cubicBezTo>
                  <a:cubicBezTo>
                    <a:pt x="83" y="35"/>
                    <a:pt x="61" y="44"/>
                    <a:pt x="38" y="54"/>
                  </a:cubicBezTo>
                  <a:cubicBezTo>
                    <a:pt x="38" y="54"/>
                    <a:pt x="15" y="50"/>
                    <a:pt x="2" y="45"/>
                  </a:cubicBezTo>
                  <a:cubicBezTo>
                    <a:pt x="1" y="44"/>
                    <a:pt x="0" y="43"/>
                    <a:pt x="1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141" y="8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9"/>
            <p:cNvSpPr>
              <a:spLocks noEditPoints="1"/>
            </p:cNvSpPr>
            <p:nvPr/>
          </p:nvSpPr>
          <p:spPr bwMode="auto">
            <a:xfrm>
              <a:off x="3535363" y="2525713"/>
              <a:ext cx="298450" cy="114300"/>
            </a:xfrm>
            <a:custGeom>
              <a:avLst/>
              <a:gdLst>
                <a:gd name="T0" fmla="*/ 141 w 141"/>
                <a:gd name="T1" fmla="*/ 9 h 54"/>
                <a:gd name="T2" fmla="*/ 106 w 141"/>
                <a:gd name="T3" fmla="*/ 26 h 54"/>
                <a:gd name="T4" fmla="*/ 106 w 141"/>
                <a:gd name="T5" fmla="*/ 26 h 54"/>
                <a:gd name="T6" fmla="*/ 38 w 141"/>
                <a:gd name="T7" fmla="*/ 54 h 54"/>
                <a:gd name="T8" fmla="*/ 38 w 141"/>
                <a:gd name="T9" fmla="*/ 54 h 54"/>
                <a:gd name="T10" fmla="*/ 38 w 141"/>
                <a:gd name="T11" fmla="*/ 54 h 54"/>
                <a:gd name="T12" fmla="*/ 2 w 141"/>
                <a:gd name="T13" fmla="*/ 45 h 54"/>
                <a:gd name="T14" fmla="*/ 2 w 141"/>
                <a:gd name="T15" fmla="*/ 45 h 54"/>
                <a:gd name="T16" fmla="*/ 2 w 141"/>
                <a:gd name="T17" fmla="*/ 45 h 54"/>
                <a:gd name="T18" fmla="*/ 0 w 141"/>
                <a:gd name="T19" fmla="*/ 43 h 54"/>
                <a:gd name="T20" fmla="*/ 0 w 141"/>
                <a:gd name="T21" fmla="*/ 43 h 54"/>
                <a:gd name="T22" fmla="*/ 1 w 141"/>
                <a:gd name="T23" fmla="*/ 42 h 54"/>
                <a:gd name="T24" fmla="*/ 1 w 141"/>
                <a:gd name="T25" fmla="*/ 42 h 54"/>
                <a:gd name="T26" fmla="*/ 3 w 141"/>
                <a:gd name="T27" fmla="*/ 40 h 54"/>
                <a:gd name="T28" fmla="*/ 3 w 141"/>
                <a:gd name="T29" fmla="*/ 40 h 54"/>
                <a:gd name="T30" fmla="*/ 4 w 141"/>
                <a:gd name="T31" fmla="*/ 40 h 54"/>
                <a:gd name="T32" fmla="*/ 81 w 141"/>
                <a:gd name="T33" fmla="*/ 0 h 54"/>
                <a:gd name="T34" fmla="*/ 81 w 141"/>
                <a:gd name="T35" fmla="*/ 0 h 54"/>
                <a:gd name="T36" fmla="*/ 81 w 141"/>
                <a:gd name="T37" fmla="*/ 0 h 54"/>
                <a:gd name="T38" fmla="*/ 141 w 141"/>
                <a:gd name="T39" fmla="*/ 8 h 54"/>
                <a:gd name="T40" fmla="*/ 141 w 141"/>
                <a:gd name="T41" fmla="*/ 9 h 54"/>
                <a:gd name="T42" fmla="*/ 106 w 141"/>
                <a:gd name="T43" fmla="*/ 26 h 54"/>
                <a:gd name="T44" fmla="*/ 140 w 141"/>
                <a:gd name="T45" fmla="*/ 8 h 54"/>
                <a:gd name="T46" fmla="*/ 81 w 141"/>
                <a:gd name="T47" fmla="*/ 1 h 54"/>
                <a:gd name="T48" fmla="*/ 4 w 141"/>
                <a:gd name="T49" fmla="*/ 40 h 54"/>
                <a:gd name="T50" fmla="*/ 1 w 141"/>
                <a:gd name="T51" fmla="*/ 43 h 54"/>
                <a:gd name="T52" fmla="*/ 1 w 141"/>
                <a:gd name="T53" fmla="*/ 43 h 54"/>
                <a:gd name="T54" fmla="*/ 1 w 141"/>
                <a:gd name="T55" fmla="*/ 43 h 54"/>
                <a:gd name="T56" fmla="*/ 1 w 141"/>
                <a:gd name="T57" fmla="*/ 43 h 54"/>
                <a:gd name="T58" fmla="*/ 1 w 141"/>
                <a:gd name="T59" fmla="*/ 43 h 54"/>
                <a:gd name="T60" fmla="*/ 1 w 141"/>
                <a:gd name="T61" fmla="*/ 43 h 54"/>
                <a:gd name="T62" fmla="*/ 2 w 141"/>
                <a:gd name="T63" fmla="*/ 45 h 54"/>
                <a:gd name="T64" fmla="*/ 38 w 141"/>
                <a:gd name="T65" fmla="*/ 53 h 54"/>
                <a:gd name="T66" fmla="*/ 106 w 141"/>
                <a:gd name="T67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1" h="54">
                  <a:moveTo>
                    <a:pt x="141" y="9"/>
                  </a:moveTo>
                  <a:cubicBezTo>
                    <a:pt x="106" y="26"/>
                    <a:pt x="106" y="26"/>
                    <a:pt x="106" y="26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15" y="50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1" y="44"/>
                    <a:pt x="1" y="44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3"/>
                    <a:pt x="0" y="42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141" y="8"/>
                    <a:pt x="141" y="8"/>
                    <a:pt x="141" y="8"/>
                  </a:cubicBezTo>
                  <a:cubicBezTo>
                    <a:pt x="141" y="9"/>
                    <a:pt x="141" y="9"/>
                    <a:pt x="141" y="9"/>
                  </a:cubicBezTo>
                  <a:close/>
                  <a:moveTo>
                    <a:pt x="106" y="26"/>
                  </a:moveTo>
                  <a:cubicBezTo>
                    <a:pt x="140" y="8"/>
                    <a:pt x="140" y="8"/>
                    <a:pt x="140" y="8"/>
                  </a:cubicBezTo>
                  <a:cubicBezTo>
                    <a:pt x="81" y="1"/>
                    <a:pt x="81" y="1"/>
                    <a:pt x="81" y="1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1" y="43"/>
                    <a:pt x="1" y="44"/>
                    <a:pt x="2" y="45"/>
                  </a:cubicBezTo>
                  <a:cubicBezTo>
                    <a:pt x="14" y="49"/>
                    <a:pt x="36" y="53"/>
                    <a:pt x="38" y="53"/>
                  </a:cubicBezTo>
                  <a:lnTo>
                    <a:pt x="106" y="26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0"/>
            <p:cNvSpPr>
              <a:spLocks/>
            </p:cNvSpPr>
            <p:nvPr/>
          </p:nvSpPr>
          <p:spPr bwMode="auto">
            <a:xfrm>
              <a:off x="3411538" y="2597150"/>
              <a:ext cx="190500" cy="106363"/>
            </a:xfrm>
            <a:custGeom>
              <a:avLst/>
              <a:gdLst>
                <a:gd name="T0" fmla="*/ 12 w 90"/>
                <a:gd name="T1" fmla="*/ 5 h 50"/>
                <a:gd name="T2" fmla="*/ 5 w 90"/>
                <a:gd name="T3" fmla="*/ 25 h 50"/>
                <a:gd name="T4" fmla="*/ 2 w 90"/>
                <a:gd name="T5" fmla="*/ 39 h 50"/>
                <a:gd name="T6" fmla="*/ 9 w 90"/>
                <a:gd name="T7" fmla="*/ 41 h 50"/>
                <a:gd name="T8" fmla="*/ 19 w 90"/>
                <a:gd name="T9" fmla="*/ 44 h 50"/>
                <a:gd name="T10" fmla="*/ 39 w 90"/>
                <a:gd name="T11" fmla="*/ 50 h 50"/>
                <a:gd name="T12" fmla="*/ 53 w 90"/>
                <a:gd name="T13" fmla="*/ 45 h 50"/>
                <a:gd name="T14" fmla="*/ 54 w 90"/>
                <a:gd name="T15" fmla="*/ 40 h 50"/>
                <a:gd name="T16" fmla="*/ 62 w 90"/>
                <a:gd name="T17" fmla="*/ 35 h 50"/>
                <a:gd name="T18" fmla="*/ 60 w 90"/>
                <a:gd name="T19" fmla="*/ 29 h 50"/>
                <a:gd name="T20" fmla="*/ 66 w 90"/>
                <a:gd name="T21" fmla="*/ 24 h 50"/>
                <a:gd name="T22" fmla="*/ 65 w 90"/>
                <a:gd name="T23" fmla="*/ 17 h 50"/>
                <a:gd name="T24" fmla="*/ 81 w 90"/>
                <a:gd name="T25" fmla="*/ 14 h 50"/>
                <a:gd name="T26" fmla="*/ 89 w 90"/>
                <a:gd name="T27" fmla="*/ 9 h 50"/>
                <a:gd name="T28" fmla="*/ 83 w 90"/>
                <a:gd name="T29" fmla="*/ 6 h 50"/>
                <a:gd name="T30" fmla="*/ 78 w 90"/>
                <a:gd name="T31" fmla="*/ 6 h 50"/>
                <a:gd name="T32" fmla="*/ 62 w 90"/>
                <a:gd name="T33" fmla="*/ 6 h 50"/>
                <a:gd name="T34" fmla="*/ 56 w 90"/>
                <a:gd name="T35" fmla="*/ 5 h 50"/>
                <a:gd name="T36" fmla="*/ 63 w 90"/>
                <a:gd name="T37" fmla="*/ 1 h 50"/>
                <a:gd name="T38" fmla="*/ 43 w 90"/>
                <a:gd name="T39" fmla="*/ 1 h 50"/>
                <a:gd name="T40" fmla="*/ 27 w 90"/>
                <a:gd name="T41" fmla="*/ 1 h 50"/>
                <a:gd name="T42" fmla="*/ 12 w 90"/>
                <a:gd name="T43" fmla="*/ 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50">
                  <a:moveTo>
                    <a:pt x="12" y="5"/>
                  </a:move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0" y="36"/>
                    <a:pt x="2" y="39"/>
                  </a:cubicBezTo>
                  <a:cubicBezTo>
                    <a:pt x="4" y="41"/>
                    <a:pt x="9" y="41"/>
                    <a:pt x="9" y="41"/>
                  </a:cubicBezTo>
                  <a:cubicBezTo>
                    <a:pt x="9" y="41"/>
                    <a:pt x="16" y="43"/>
                    <a:pt x="19" y="44"/>
                  </a:cubicBezTo>
                  <a:cubicBezTo>
                    <a:pt x="21" y="46"/>
                    <a:pt x="35" y="50"/>
                    <a:pt x="39" y="50"/>
                  </a:cubicBezTo>
                  <a:cubicBezTo>
                    <a:pt x="43" y="49"/>
                    <a:pt x="52" y="47"/>
                    <a:pt x="53" y="45"/>
                  </a:cubicBezTo>
                  <a:cubicBezTo>
                    <a:pt x="54" y="44"/>
                    <a:pt x="54" y="40"/>
                    <a:pt x="54" y="40"/>
                  </a:cubicBezTo>
                  <a:cubicBezTo>
                    <a:pt x="54" y="40"/>
                    <a:pt x="61" y="38"/>
                    <a:pt x="62" y="35"/>
                  </a:cubicBezTo>
                  <a:cubicBezTo>
                    <a:pt x="63" y="32"/>
                    <a:pt x="60" y="29"/>
                    <a:pt x="60" y="29"/>
                  </a:cubicBezTo>
                  <a:cubicBezTo>
                    <a:pt x="60" y="29"/>
                    <a:pt x="66" y="28"/>
                    <a:pt x="66" y="24"/>
                  </a:cubicBezTo>
                  <a:cubicBezTo>
                    <a:pt x="66" y="21"/>
                    <a:pt x="65" y="17"/>
                    <a:pt x="65" y="17"/>
                  </a:cubicBezTo>
                  <a:cubicBezTo>
                    <a:pt x="65" y="17"/>
                    <a:pt x="77" y="15"/>
                    <a:pt x="81" y="14"/>
                  </a:cubicBezTo>
                  <a:cubicBezTo>
                    <a:pt x="86" y="13"/>
                    <a:pt x="90" y="13"/>
                    <a:pt x="89" y="9"/>
                  </a:cubicBezTo>
                  <a:cubicBezTo>
                    <a:pt x="88" y="6"/>
                    <a:pt x="87" y="5"/>
                    <a:pt x="83" y="6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47" y="1"/>
                    <a:pt x="43" y="1"/>
                  </a:cubicBezTo>
                  <a:cubicBezTo>
                    <a:pt x="38" y="0"/>
                    <a:pt x="33" y="0"/>
                    <a:pt x="27" y="1"/>
                  </a:cubicBezTo>
                  <a:cubicBezTo>
                    <a:pt x="22" y="3"/>
                    <a:pt x="19" y="2"/>
                    <a:pt x="12" y="5"/>
                  </a:cubicBez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76200" y="1644875"/>
            <a:ext cx="1106236" cy="1098324"/>
            <a:chOff x="803305" y="1573598"/>
            <a:chExt cx="1056563" cy="1098324"/>
          </a:xfrm>
        </p:grpSpPr>
        <p:grpSp>
          <p:nvGrpSpPr>
            <p:cNvPr id="27" name="Group 26"/>
            <p:cNvGrpSpPr>
              <a:grpSpLocks noChangeAspect="1"/>
            </p:cNvGrpSpPr>
            <p:nvPr/>
          </p:nvGrpSpPr>
          <p:grpSpPr>
            <a:xfrm>
              <a:off x="803305" y="1573598"/>
              <a:ext cx="1056563" cy="1098324"/>
              <a:chOff x="6875704" y="5143201"/>
              <a:chExt cx="1300356" cy="1351752"/>
            </a:xfrm>
          </p:grpSpPr>
          <p:sp>
            <p:nvSpPr>
              <p:cNvPr id="28" name="Oval 27"/>
              <p:cNvSpPr/>
              <p:nvPr/>
            </p:nvSpPr>
            <p:spPr>
              <a:xfrm>
                <a:off x="6875704" y="6037753"/>
                <a:ext cx="1300356" cy="4572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/>
                  </a:gs>
                  <a:gs pos="100000">
                    <a:schemeClr val="bg1">
                      <a:alpha val="0"/>
                      <a:lumMod val="0"/>
                      <a:lumOff val="10000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Oval 28"/>
              <p:cNvSpPr/>
              <p:nvPr/>
            </p:nvSpPr>
            <p:spPr>
              <a:xfrm>
                <a:off x="6947372" y="5143201"/>
                <a:ext cx="1157020" cy="1157020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0000"/>
                  </a:gs>
                  <a:gs pos="0">
                    <a:srgbClr val="FF0000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solidFill>
                  <a:srgbClr val="C0000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sp>
          <p:nvSpPr>
            <p:cNvPr id="3" name="TextBox 2"/>
            <p:cNvSpPr txBox="1"/>
            <p:nvPr/>
          </p:nvSpPr>
          <p:spPr>
            <a:xfrm>
              <a:off x="963335" y="1708742"/>
              <a:ext cx="734837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4000" dirty="0">
                  <a:solidFill>
                    <a:schemeClr val="bg1"/>
                  </a:solidFill>
                  <a:latin typeface="Arial Black" pitchFamily="34" charset="0"/>
                </a:rPr>
                <a:t>1</a:t>
              </a:r>
            </a:p>
          </p:txBody>
        </p:sp>
      </p:grpSp>
      <p:sp>
        <p:nvSpPr>
          <p:cNvPr id="43" name="Title 46">
            <a:extLst>
              <a:ext uri="{FF2B5EF4-FFF2-40B4-BE49-F238E27FC236}">
                <a16:creationId xmlns:a16="http://schemas.microsoft.com/office/drawing/2014/main" id="{1C25A541-246C-48D3-9384-BB907533CA84}"/>
              </a:ext>
            </a:extLst>
          </p:cNvPr>
          <p:cNvSpPr txBox="1">
            <a:spLocks/>
          </p:cNvSpPr>
          <p:nvPr/>
        </p:nvSpPr>
        <p:spPr>
          <a:xfrm>
            <a:off x="425654" y="0"/>
            <a:ext cx="8010164" cy="6936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Προτάσεις </a:t>
            </a:r>
            <a:r>
              <a:rPr lang="el-GR" sz="40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για</a:t>
            </a:r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περαιτέρω μελέτη</a:t>
            </a:r>
            <a:endParaRPr lang="en-US" sz="36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54" name="Group 53"/>
          <p:cNvGrpSpPr/>
          <p:nvPr/>
        </p:nvGrpSpPr>
        <p:grpSpPr>
          <a:xfrm>
            <a:off x="75328" y="4446557"/>
            <a:ext cx="1106236" cy="1098324"/>
            <a:chOff x="803305" y="1573598"/>
            <a:chExt cx="1056563" cy="1098324"/>
          </a:xfrm>
        </p:grpSpPr>
        <p:grpSp>
          <p:nvGrpSpPr>
            <p:cNvPr id="55" name="Group 54"/>
            <p:cNvGrpSpPr>
              <a:grpSpLocks noChangeAspect="1"/>
            </p:cNvGrpSpPr>
            <p:nvPr/>
          </p:nvGrpSpPr>
          <p:grpSpPr>
            <a:xfrm>
              <a:off x="803305" y="1573598"/>
              <a:ext cx="1056563" cy="1098324"/>
              <a:chOff x="6875704" y="5143201"/>
              <a:chExt cx="1300356" cy="1351752"/>
            </a:xfrm>
          </p:grpSpPr>
          <p:sp>
            <p:nvSpPr>
              <p:cNvPr id="57" name="Oval 56"/>
              <p:cNvSpPr/>
              <p:nvPr/>
            </p:nvSpPr>
            <p:spPr>
              <a:xfrm>
                <a:off x="6875704" y="6037753"/>
                <a:ext cx="1300356" cy="4572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/>
                  </a:gs>
                  <a:gs pos="100000">
                    <a:schemeClr val="bg1">
                      <a:alpha val="0"/>
                      <a:lumMod val="0"/>
                      <a:lumOff val="10000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Oval 57"/>
              <p:cNvSpPr/>
              <p:nvPr/>
            </p:nvSpPr>
            <p:spPr>
              <a:xfrm>
                <a:off x="6947372" y="5143201"/>
                <a:ext cx="1157020" cy="1157020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0000"/>
                  </a:gs>
                  <a:gs pos="0">
                    <a:srgbClr val="FF0000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solidFill>
                  <a:srgbClr val="C0000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sp>
          <p:nvSpPr>
            <p:cNvPr id="56" name="TextBox 55"/>
            <p:cNvSpPr txBox="1"/>
            <p:nvPr/>
          </p:nvSpPr>
          <p:spPr>
            <a:xfrm>
              <a:off x="963335" y="1708742"/>
              <a:ext cx="734837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4000">
                  <a:solidFill>
                    <a:schemeClr val="bg1"/>
                  </a:solidFill>
                  <a:latin typeface="Arial Black" pitchFamily="34" charset="0"/>
                </a:rPr>
                <a:t>3</a:t>
              </a:r>
            </a:p>
          </p:txBody>
        </p:sp>
      </p:grpSp>
      <p:sp>
        <p:nvSpPr>
          <p:cNvPr id="70" name="Parallelogram 5">
            <a:extLst>
              <a:ext uri="{FF2B5EF4-FFF2-40B4-BE49-F238E27FC236}">
                <a16:creationId xmlns:a16="http://schemas.microsoft.com/office/drawing/2014/main" id="{FB509507-C28C-4F84-8132-9647DA1F2CD2}"/>
              </a:ext>
            </a:extLst>
          </p:cNvPr>
          <p:cNvSpPr/>
          <p:nvPr/>
        </p:nvSpPr>
        <p:spPr>
          <a:xfrm rot="16200000" flipV="1">
            <a:off x="3257821" y="272370"/>
            <a:ext cx="1070440" cy="6374381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14A0F99-FF46-4D33-8A1C-B3E6CDE30573}"/>
              </a:ext>
            </a:extLst>
          </p:cNvPr>
          <p:cNvSpPr txBox="1"/>
          <p:nvPr/>
        </p:nvSpPr>
        <p:spPr>
          <a:xfrm>
            <a:off x="1143000" y="3071996"/>
            <a:ext cx="6302719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l-GR" sz="2000" dirty="0">
                <a:latin typeface="Times New Roman" pitchFamily="18" charset="0"/>
                <a:cs typeface="Times New Roman" pitchFamily="18" charset="0"/>
              </a:rPr>
              <a:t>Μέθοδοι πρόγνωσης σε μικρότερη ή μεγαλύτερη χρονική κλίμακα.</a:t>
            </a:r>
            <a:endParaRPr lang="en-US" sz="2000" dirty="0">
              <a:latin typeface="Times New Roman" panose="02020603050405020304" pitchFamily="18" charset="0"/>
              <a:cs typeface="Times New Roman" pitchFamily="18" charset="0"/>
            </a:endParaRPr>
          </a:p>
        </p:txBody>
      </p:sp>
      <p:grpSp>
        <p:nvGrpSpPr>
          <p:cNvPr id="44" name="Group 43"/>
          <p:cNvGrpSpPr/>
          <p:nvPr/>
        </p:nvGrpSpPr>
        <p:grpSpPr>
          <a:xfrm>
            <a:off x="88674" y="2971799"/>
            <a:ext cx="1106236" cy="1098324"/>
            <a:chOff x="803305" y="1573598"/>
            <a:chExt cx="1056563" cy="1098324"/>
          </a:xfrm>
        </p:grpSpPr>
        <p:grpSp>
          <p:nvGrpSpPr>
            <p:cNvPr id="45" name="Group 44"/>
            <p:cNvGrpSpPr>
              <a:grpSpLocks noChangeAspect="1"/>
            </p:cNvGrpSpPr>
            <p:nvPr/>
          </p:nvGrpSpPr>
          <p:grpSpPr>
            <a:xfrm>
              <a:off x="803305" y="1573598"/>
              <a:ext cx="1056563" cy="1098324"/>
              <a:chOff x="6875704" y="5143201"/>
              <a:chExt cx="1300356" cy="1351752"/>
            </a:xfrm>
          </p:grpSpPr>
          <p:sp>
            <p:nvSpPr>
              <p:cNvPr id="47" name="Oval 46"/>
              <p:cNvSpPr/>
              <p:nvPr/>
            </p:nvSpPr>
            <p:spPr>
              <a:xfrm>
                <a:off x="6875704" y="6037753"/>
                <a:ext cx="1300356" cy="4572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/>
                  </a:gs>
                  <a:gs pos="100000">
                    <a:schemeClr val="bg1">
                      <a:alpha val="0"/>
                      <a:lumMod val="0"/>
                      <a:lumOff val="10000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52"/>
              <p:cNvSpPr/>
              <p:nvPr/>
            </p:nvSpPr>
            <p:spPr>
              <a:xfrm>
                <a:off x="6947372" y="5143201"/>
                <a:ext cx="1157020" cy="1157020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0000"/>
                  </a:gs>
                  <a:gs pos="0">
                    <a:srgbClr val="FF0000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>
                <a:solidFill>
                  <a:srgbClr val="C0000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sp>
          <p:nvSpPr>
            <p:cNvPr id="46" name="TextBox 45"/>
            <p:cNvSpPr txBox="1"/>
            <p:nvPr/>
          </p:nvSpPr>
          <p:spPr>
            <a:xfrm>
              <a:off x="963335" y="1708742"/>
              <a:ext cx="734837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4000">
                  <a:solidFill>
                    <a:schemeClr val="bg1"/>
                  </a:solidFill>
                  <a:latin typeface="Arial Black" pitchFamily="34" charset="0"/>
                </a:rPr>
                <a:t>2</a:t>
              </a: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D1C0D740-A148-4B89-80A8-EBE8E227BCD7}"/>
              </a:ext>
            </a:extLst>
          </p:cNvPr>
          <p:cNvSpPr txBox="1"/>
          <p:nvPr/>
        </p:nvSpPr>
        <p:spPr>
          <a:xfrm>
            <a:off x="1143000" y="4249265"/>
            <a:ext cx="7062028" cy="132343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l-GR" sz="2000" dirty="0">
                <a:latin typeface="Times New Roman" pitchFamily="18" charset="0"/>
                <a:cs typeface="Times New Roman" pitchFamily="18" charset="0"/>
              </a:rPr>
              <a:t>Άλλοι μέθοδοι βελτίωσης της μετεωρολογικής πρόβλεψης, όπως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000" dirty="0" err="1">
                <a:latin typeface="Times New Roman" pitchFamily="18" charset="0"/>
                <a:cs typeface="Times New Roman" pitchFamily="18" charset="0"/>
              </a:rPr>
              <a:t>νευρωνικά</a:t>
            </a:r>
            <a:r>
              <a:rPr lang="el-GR" sz="2000" dirty="0">
                <a:latin typeface="Times New Roman" pitchFamily="18" charset="0"/>
                <a:cs typeface="Times New Roman" pitchFamily="18" charset="0"/>
              </a:rPr>
              <a:t> δίκτυα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l-GR" sz="2000" dirty="0">
                <a:latin typeface="Times New Roman" pitchFamily="18" charset="0"/>
                <a:cs typeface="Times New Roman" pitchFamily="18" charset="0"/>
              </a:rPr>
              <a:t>στοχαστική διερεύνηση της διαφοράς μετεωρολογικής πρόγνωσης και μέτρησης</a:t>
            </a:r>
            <a:endParaRPr lang="en-US" sz="2000" dirty="0">
              <a:latin typeface="Times New Roman" panose="02020603050405020304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01781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/>
          <p:cNvSpPr/>
          <p:nvPr/>
        </p:nvSpPr>
        <p:spPr>
          <a:xfrm>
            <a:off x="1219198" y="1371600"/>
            <a:ext cx="7239002" cy="5582130"/>
          </a:xfrm>
          <a:custGeom>
            <a:avLst/>
            <a:gdLst/>
            <a:ahLst/>
            <a:cxnLst/>
            <a:rect l="l" t="t" r="r" b="b"/>
            <a:pathLst>
              <a:path w="6791194" h="5236817">
                <a:moveTo>
                  <a:pt x="1255439" y="0"/>
                </a:moveTo>
                <a:lnTo>
                  <a:pt x="1304159" y="63956"/>
                </a:lnTo>
                <a:cubicBezTo>
                  <a:pt x="874453" y="503674"/>
                  <a:pt x="609601" y="1122754"/>
                  <a:pt x="609601" y="1807817"/>
                </a:cubicBezTo>
                <a:cubicBezTo>
                  <a:pt x="609601" y="3154508"/>
                  <a:pt x="1633078" y="4246217"/>
                  <a:pt x="2895601" y="4246217"/>
                </a:cubicBezTo>
                <a:cubicBezTo>
                  <a:pt x="3843859" y="4246217"/>
                  <a:pt x="4657265" y="3630359"/>
                  <a:pt x="5000369" y="2752089"/>
                </a:cubicBezTo>
                <a:lnTo>
                  <a:pt x="4234140" y="2578973"/>
                </a:lnTo>
                <a:lnTo>
                  <a:pt x="5763203" y="1433713"/>
                </a:lnTo>
                <a:lnTo>
                  <a:pt x="6791194" y="3156694"/>
                </a:lnTo>
                <a:lnTo>
                  <a:pt x="6008088" y="2979765"/>
                </a:lnTo>
                <a:cubicBezTo>
                  <a:pt x="5705922" y="4272158"/>
                  <a:pt x="4492929" y="5236817"/>
                  <a:pt x="3043146" y="5236817"/>
                </a:cubicBezTo>
                <a:cubicBezTo>
                  <a:pt x="1362463" y="5236817"/>
                  <a:pt x="0" y="3940413"/>
                  <a:pt x="0" y="2341217"/>
                </a:cubicBezTo>
                <a:cubicBezTo>
                  <a:pt x="0" y="1378076"/>
                  <a:pt x="494199" y="524765"/>
                  <a:pt x="1255439" y="0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  <a:effectLst>
            <a:outerShdw blurRad="266700" dist="952500" dir="5400000" algn="t" rotWithShape="0">
              <a:prstClr val="black">
                <a:alpha val="40000"/>
              </a:prstClr>
            </a:outerShdw>
          </a:effectLst>
          <a:scene3d>
            <a:camera prst="orthographicFront">
              <a:rot lat="17699988" lon="0" rev="0"/>
            </a:camera>
            <a:lightRig rig="twoPt" dir="t"/>
          </a:scene3d>
          <a:sp3d extrusionH="190500" prstMaterial="plastic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/>
          <p:cNvCxnSpPr/>
          <p:nvPr/>
        </p:nvCxnSpPr>
        <p:spPr>
          <a:xfrm flipV="1">
            <a:off x="1747807" y="2656960"/>
            <a:ext cx="0" cy="581724"/>
          </a:xfrm>
          <a:prstGeom prst="line">
            <a:avLst/>
          </a:prstGeom>
          <a:ln w="28575" cap="rnd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cxnSpLocks/>
          </p:cNvCxnSpPr>
          <p:nvPr/>
        </p:nvCxnSpPr>
        <p:spPr>
          <a:xfrm>
            <a:off x="254575" y="2656960"/>
            <a:ext cx="1850721" cy="0"/>
          </a:xfrm>
          <a:prstGeom prst="line">
            <a:avLst/>
          </a:prstGeom>
          <a:ln w="28575" cap="rnd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/>
          <p:cNvGrpSpPr>
            <a:grpSpLocks noChangeAspect="1"/>
          </p:cNvGrpSpPr>
          <p:nvPr/>
        </p:nvGrpSpPr>
        <p:grpSpPr>
          <a:xfrm>
            <a:off x="1493334" y="3092547"/>
            <a:ext cx="508947" cy="584817"/>
            <a:chOff x="6005512" y="2938464"/>
            <a:chExt cx="1188720" cy="1365927"/>
          </a:xfrm>
        </p:grpSpPr>
        <p:sp>
          <p:nvSpPr>
            <p:cNvPr id="34" name="Oval 33"/>
            <p:cNvSpPr/>
            <p:nvPr/>
          </p:nvSpPr>
          <p:spPr>
            <a:xfrm>
              <a:off x="6005512" y="3847191"/>
              <a:ext cx="1188720" cy="457200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75000"/>
                    <a:lumOff val="25000"/>
                  </a:schemeClr>
                </a:gs>
                <a:gs pos="100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6029324" y="2938464"/>
              <a:ext cx="1143000" cy="1143000"/>
              <a:chOff x="6019800" y="3276599"/>
              <a:chExt cx="533400" cy="533400"/>
            </a:xfr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36" name="Oval 35"/>
              <p:cNvSpPr/>
              <p:nvPr/>
            </p:nvSpPr>
            <p:spPr>
              <a:xfrm>
                <a:off x="6019800" y="3276599"/>
                <a:ext cx="533400" cy="533400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accent6">
                      <a:lumMod val="100000"/>
                    </a:schemeClr>
                  </a:gs>
                  <a:gs pos="0">
                    <a:srgbClr val="FFFF00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 cap="flat" cmpd="sng" algn="ctr">
                <a:solidFill>
                  <a:schemeClr val="accent6">
                    <a:lumMod val="50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" name="Oval 36"/>
              <p:cNvSpPr/>
              <p:nvPr/>
            </p:nvSpPr>
            <p:spPr>
              <a:xfrm>
                <a:off x="6076474" y="3294184"/>
                <a:ext cx="420053" cy="369339"/>
              </a:xfrm>
              <a:prstGeom prst="ellipse">
                <a:avLst/>
              </a:prstGeom>
              <a:gradFill>
                <a:gsLst>
                  <a:gs pos="0">
                    <a:sysClr val="window" lastClr="FFFFFF">
                      <a:lumMod val="100000"/>
                      <a:alpha val="90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lin ang="5400000" scaled="1"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457200" y="-76200"/>
            <a:ext cx="8229600" cy="894870"/>
          </a:xfrm>
        </p:spPr>
        <p:txBody>
          <a:bodyPr>
            <a:normAutofit/>
          </a:bodyPr>
          <a:lstStyle/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Βήματα εκπόνησης εργασίας</a:t>
            </a:r>
            <a:endParaRPr lang="en-US" sz="36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010400" y="3119735"/>
            <a:ext cx="14148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1</a:t>
            </a:r>
            <a:r>
              <a:rPr lang="el-GR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2017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514600" y="2592674"/>
            <a:ext cx="14318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l-GR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4/2017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54575" y="2209800"/>
            <a:ext cx="18631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Εύρεση θέματος</a:t>
            </a:r>
            <a:endParaRPr lang="en-US" sz="2000" dirty="0">
              <a:solidFill>
                <a:schemeClr val="tx1">
                  <a:lumMod val="95000"/>
                  <a:lumOff val="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8" name="Straight Connector 57"/>
          <p:cNvCxnSpPr>
            <a:cxnSpLocks/>
          </p:cNvCxnSpPr>
          <p:nvPr/>
        </p:nvCxnSpPr>
        <p:spPr>
          <a:xfrm>
            <a:off x="2470205" y="4494462"/>
            <a:ext cx="0" cy="1210634"/>
          </a:xfrm>
          <a:prstGeom prst="line">
            <a:avLst/>
          </a:prstGeom>
          <a:ln w="28575" cap="rnd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>
            <a:cxnSpLocks/>
          </p:cNvCxnSpPr>
          <p:nvPr/>
        </p:nvCxnSpPr>
        <p:spPr>
          <a:xfrm>
            <a:off x="838200" y="5705096"/>
            <a:ext cx="2286000" cy="14228"/>
          </a:xfrm>
          <a:prstGeom prst="line">
            <a:avLst/>
          </a:prstGeom>
          <a:ln w="28575" cap="rnd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838200" y="5724844"/>
            <a:ext cx="2438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Συλλογή δεδομένων &amp; επεξεργασία αυτών</a:t>
            </a:r>
            <a:endParaRPr lang="en-US" sz="2000" dirty="0">
              <a:solidFill>
                <a:schemeClr val="tx1">
                  <a:lumMod val="95000"/>
                  <a:lumOff val="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8" name="Group 27"/>
          <p:cNvGrpSpPr>
            <a:grpSpLocks noChangeAspect="1"/>
          </p:cNvGrpSpPr>
          <p:nvPr/>
        </p:nvGrpSpPr>
        <p:grpSpPr>
          <a:xfrm>
            <a:off x="1995912" y="3986017"/>
            <a:ext cx="933069" cy="1072165"/>
            <a:chOff x="6005512" y="2938464"/>
            <a:chExt cx="1188720" cy="1365927"/>
          </a:xfrm>
        </p:grpSpPr>
        <p:sp>
          <p:nvSpPr>
            <p:cNvPr id="29" name="Oval 28"/>
            <p:cNvSpPr/>
            <p:nvPr/>
          </p:nvSpPr>
          <p:spPr>
            <a:xfrm>
              <a:off x="6005512" y="3847191"/>
              <a:ext cx="1188720" cy="457200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75000"/>
                    <a:lumOff val="25000"/>
                  </a:schemeClr>
                </a:gs>
                <a:gs pos="100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6029324" y="2938464"/>
              <a:ext cx="1143000" cy="1143000"/>
              <a:chOff x="6019800" y="3276599"/>
              <a:chExt cx="533400" cy="533400"/>
            </a:xfr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31" name="Oval 30"/>
              <p:cNvSpPr/>
              <p:nvPr/>
            </p:nvSpPr>
            <p:spPr>
              <a:xfrm>
                <a:off x="6019800" y="3276599"/>
                <a:ext cx="533400" cy="533400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2060">
                      <a:lumMod val="86000"/>
                      <a:lumOff val="14000"/>
                    </a:srgbClr>
                  </a:gs>
                  <a:gs pos="0">
                    <a:srgbClr val="00B0F0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 cap="flat" cmpd="sng" algn="ctr">
                <a:solidFill>
                  <a:srgbClr val="00206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" name="Oval 31"/>
              <p:cNvSpPr/>
              <p:nvPr/>
            </p:nvSpPr>
            <p:spPr>
              <a:xfrm>
                <a:off x="6076474" y="3294184"/>
                <a:ext cx="420053" cy="369339"/>
              </a:xfrm>
              <a:prstGeom prst="ellipse">
                <a:avLst/>
              </a:prstGeom>
              <a:gradFill>
                <a:gsLst>
                  <a:gs pos="0">
                    <a:sysClr val="window" lastClr="FFFFFF">
                      <a:lumMod val="100000"/>
                      <a:alpha val="90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lin ang="5400000" scaled="1"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63" name="Straight Connector 62"/>
          <p:cNvCxnSpPr>
            <a:cxnSpLocks/>
          </p:cNvCxnSpPr>
          <p:nvPr/>
        </p:nvCxnSpPr>
        <p:spPr>
          <a:xfrm flipH="1">
            <a:off x="4621594" y="4527799"/>
            <a:ext cx="25389" cy="1339601"/>
          </a:xfrm>
          <a:prstGeom prst="line">
            <a:avLst/>
          </a:prstGeom>
          <a:ln w="28575" cap="rnd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cxnSpLocks/>
          </p:cNvCxnSpPr>
          <p:nvPr/>
        </p:nvCxnSpPr>
        <p:spPr>
          <a:xfrm flipV="1">
            <a:off x="3657600" y="5878610"/>
            <a:ext cx="2057400" cy="17434"/>
          </a:xfrm>
          <a:prstGeom prst="line">
            <a:avLst/>
          </a:prstGeom>
          <a:ln w="28575" cap="rnd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3528204" y="5919919"/>
            <a:ext cx="23391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Εφαρμογή μεθόδων &amp; αποτελέσματα</a:t>
            </a:r>
            <a:endParaRPr lang="en-US" sz="2000" dirty="0">
              <a:solidFill>
                <a:schemeClr val="tx1">
                  <a:lumMod val="95000"/>
                  <a:lumOff val="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4040647" y="4027787"/>
            <a:ext cx="1161895" cy="1335103"/>
            <a:chOff x="6005512" y="2938464"/>
            <a:chExt cx="1188720" cy="1365927"/>
          </a:xfrm>
        </p:grpSpPr>
        <p:sp>
          <p:nvSpPr>
            <p:cNvPr id="24" name="Oval 23"/>
            <p:cNvSpPr/>
            <p:nvPr/>
          </p:nvSpPr>
          <p:spPr>
            <a:xfrm>
              <a:off x="6005512" y="3847191"/>
              <a:ext cx="1188720" cy="457200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75000"/>
                    <a:lumOff val="25000"/>
                  </a:schemeClr>
                </a:gs>
                <a:gs pos="100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6029324" y="2938464"/>
              <a:ext cx="1143000" cy="1143000"/>
              <a:chOff x="6019800" y="3276599"/>
              <a:chExt cx="533400" cy="533400"/>
            </a:xfr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26" name="Oval 25"/>
              <p:cNvSpPr/>
              <p:nvPr/>
            </p:nvSpPr>
            <p:spPr>
              <a:xfrm>
                <a:off x="6019800" y="3276599"/>
                <a:ext cx="533400" cy="533400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00860D"/>
                  </a:gs>
                  <a:gs pos="0">
                    <a:srgbClr val="00F228"/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 cap="flat" cmpd="sng" algn="ctr">
                <a:solidFill>
                  <a:srgbClr val="00860D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" name="Oval 26"/>
              <p:cNvSpPr/>
              <p:nvPr/>
            </p:nvSpPr>
            <p:spPr>
              <a:xfrm>
                <a:off x="6076474" y="3294184"/>
                <a:ext cx="420053" cy="369339"/>
              </a:xfrm>
              <a:prstGeom prst="ellipse">
                <a:avLst/>
              </a:prstGeom>
              <a:gradFill>
                <a:gsLst>
                  <a:gs pos="0">
                    <a:sysClr val="window" lastClr="FFFFFF">
                      <a:lumMod val="100000"/>
                      <a:alpha val="90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lin ang="5400000" scaled="1"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66" name="Straight Connector 65"/>
          <p:cNvCxnSpPr/>
          <p:nvPr/>
        </p:nvCxnSpPr>
        <p:spPr>
          <a:xfrm>
            <a:off x="6655145" y="4060275"/>
            <a:ext cx="0" cy="1644821"/>
          </a:xfrm>
          <a:prstGeom prst="line">
            <a:avLst/>
          </a:prstGeom>
          <a:ln w="28575" cap="rnd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cxnSpLocks/>
          </p:cNvCxnSpPr>
          <p:nvPr/>
        </p:nvCxnSpPr>
        <p:spPr>
          <a:xfrm flipV="1">
            <a:off x="6144377" y="5712210"/>
            <a:ext cx="2022683" cy="16316"/>
          </a:xfrm>
          <a:prstGeom prst="line">
            <a:avLst/>
          </a:prstGeom>
          <a:ln w="28575" cap="rnd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6091846" y="5731226"/>
            <a:ext cx="20752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Συμπεράσματα &amp; Παρουσίαση</a:t>
            </a:r>
            <a:endParaRPr lang="en-US" sz="2000" dirty="0">
              <a:solidFill>
                <a:schemeClr val="tx1">
                  <a:lumMod val="95000"/>
                  <a:lumOff val="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5996221" y="3463135"/>
            <a:ext cx="1267104" cy="1455996"/>
            <a:chOff x="6005512" y="2938464"/>
            <a:chExt cx="1188720" cy="1365927"/>
          </a:xfrm>
        </p:grpSpPr>
        <p:sp>
          <p:nvSpPr>
            <p:cNvPr id="21" name="Oval 20"/>
            <p:cNvSpPr/>
            <p:nvPr/>
          </p:nvSpPr>
          <p:spPr>
            <a:xfrm>
              <a:off x="6005512" y="3847191"/>
              <a:ext cx="1188720" cy="457200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75000"/>
                    <a:lumOff val="25000"/>
                  </a:schemeClr>
                </a:gs>
                <a:gs pos="100000">
                  <a:sysClr val="window" lastClr="FFFFFF">
                    <a:alpha val="0"/>
                    <a:lumMod val="100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6029324" y="2938464"/>
              <a:ext cx="1143000" cy="1143000"/>
              <a:chOff x="6019800" y="3276599"/>
              <a:chExt cx="533400" cy="533400"/>
            </a:xfr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19" name="Oval 18"/>
              <p:cNvSpPr/>
              <p:nvPr/>
            </p:nvSpPr>
            <p:spPr>
              <a:xfrm>
                <a:off x="6019800" y="3276599"/>
                <a:ext cx="533400" cy="533400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C00000"/>
                  </a:gs>
                  <a:gs pos="0">
                    <a:srgbClr val="FF0000">
                      <a:lumMod val="74000"/>
                      <a:lumOff val="2600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12700" cap="flat" cmpd="sng" algn="ctr">
                <a:solidFill>
                  <a:srgbClr val="76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" name="Oval 19"/>
              <p:cNvSpPr/>
              <p:nvPr/>
            </p:nvSpPr>
            <p:spPr>
              <a:xfrm>
                <a:off x="6076474" y="3294184"/>
                <a:ext cx="420053" cy="369339"/>
              </a:xfrm>
              <a:prstGeom prst="ellipse">
                <a:avLst/>
              </a:prstGeom>
              <a:gradFill>
                <a:gsLst>
                  <a:gs pos="0">
                    <a:sysClr val="window" lastClr="FFFFFF">
                      <a:lumMod val="100000"/>
                      <a:alpha val="90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lin ang="5400000" scaled="1"/>
              </a:gra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9" name="Group 68"/>
          <p:cNvGrpSpPr/>
          <p:nvPr/>
        </p:nvGrpSpPr>
        <p:grpSpPr bwMode="blackGray">
          <a:xfrm>
            <a:off x="4343400" y="1026590"/>
            <a:ext cx="4724400" cy="1564210"/>
            <a:chOff x="5471532" y="910025"/>
            <a:chExt cx="2986668" cy="1793126"/>
          </a:xfrm>
        </p:grpSpPr>
        <p:sp>
          <p:nvSpPr>
            <p:cNvPr id="70" name="Rectangle 69"/>
            <p:cNvSpPr/>
            <p:nvPr/>
          </p:nvSpPr>
          <p:spPr bwMode="blackGray">
            <a:xfrm>
              <a:off x="5471532" y="910025"/>
              <a:ext cx="2986668" cy="482851"/>
            </a:xfrm>
            <a:prstGeom prst="rect">
              <a:avLst/>
            </a:prstGeom>
            <a:gradFill flip="none" rotWithShape="1">
              <a:gsLst>
                <a:gs pos="81000">
                  <a:srgbClr val="F6B3B3"/>
                </a:gs>
                <a:gs pos="0">
                  <a:srgbClr val="BC1616">
                    <a:lumMod val="80000"/>
                    <a:lumOff val="20000"/>
                  </a:srgb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190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4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Στόχος μελέτης</a:t>
              </a:r>
              <a:endPara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1" name="Rectangle 70"/>
            <p:cNvSpPr/>
            <p:nvPr/>
          </p:nvSpPr>
          <p:spPr bwMode="blackGray">
            <a:xfrm>
              <a:off x="5471532" y="1363138"/>
              <a:ext cx="2986668" cy="1340013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45720" rIns="91440" bIns="45720" rtlCol="0" anchor="t"/>
            <a:lstStyle/>
            <a:p>
              <a:pPr marR="0" lvl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l-GR" sz="2000" kern="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Η β</a:t>
              </a:r>
              <a:r>
                <a:rPr kumimoji="0" lang="el-GR" sz="2000" b="0" i="0" u="none" strike="noStrike" kern="0" cap="none" spc="0" normalizeH="0" baseline="0" noProof="0" dirty="0" err="1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ελτίωση</a:t>
              </a:r>
              <a:r>
                <a:rPr kumimoji="0" lang="el-GR" sz="2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>
                      <a:lumMod val="85000"/>
                      <a:lumOff val="15000"/>
                    </a:sysClr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 της μετεωρολογικής πρόβλεψης από τα ατμοσφαιρικά μοντέλα μέσω της χρήσης δεδομένων τοπικής παρατήρησης. 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85000"/>
                    <a:lumOff val="15000"/>
                  </a:sys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28072CFE-BC4F-4902-80E1-A5D5FFF70119}"/>
              </a:ext>
            </a:extLst>
          </p:cNvPr>
          <p:cNvSpPr txBox="1"/>
          <p:nvPr/>
        </p:nvSpPr>
        <p:spPr>
          <a:xfrm>
            <a:off x="1594460" y="3047272"/>
            <a:ext cx="2796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B22A00DD-106A-4BFD-9570-167D7FC50617}"/>
              </a:ext>
            </a:extLst>
          </p:cNvPr>
          <p:cNvSpPr txBox="1"/>
          <p:nvPr/>
        </p:nvSpPr>
        <p:spPr>
          <a:xfrm>
            <a:off x="2311472" y="4013924"/>
            <a:ext cx="2796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D263CE7-EC21-4698-A56B-67FC5DED454E}"/>
              </a:ext>
            </a:extLst>
          </p:cNvPr>
          <p:cNvSpPr txBox="1"/>
          <p:nvPr/>
        </p:nvSpPr>
        <p:spPr>
          <a:xfrm>
            <a:off x="4432167" y="4152363"/>
            <a:ext cx="2796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FE46A82-7D7A-4A15-BD14-04DE221BC164}"/>
              </a:ext>
            </a:extLst>
          </p:cNvPr>
          <p:cNvSpPr txBox="1"/>
          <p:nvPr/>
        </p:nvSpPr>
        <p:spPr>
          <a:xfrm>
            <a:off x="6446017" y="3594269"/>
            <a:ext cx="2796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3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5643289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CA9CF753-7D58-4529-9D14-FAAD0EFB1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3950" y="381000"/>
            <a:ext cx="6819900" cy="1143000"/>
          </a:xfrm>
        </p:spPr>
        <p:txBody>
          <a:bodyPr>
            <a:normAutofit fontScale="90000"/>
          </a:bodyPr>
          <a:lstStyle/>
          <a:p>
            <a:r>
              <a:rPr lang="el-GR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Σας ευχαριστώ πολύ για την προσοχή σας</a:t>
            </a:r>
          </a:p>
        </p:txBody>
      </p:sp>
      <p:pic>
        <p:nvPicPr>
          <p:cNvPr id="4" name="Εικόνα 3">
            <a:extLst>
              <a:ext uri="{FF2B5EF4-FFF2-40B4-BE49-F238E27FC236}">
                <a16:creationId xmlns:a16="http://schemas.microsoft.com/office/drawing/2014/main" id="{E687AF6B-CFB3-404F-B3F8-5DC76259CEC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29002" y="2133600"/>
            <a:ext cx="2204129" cy="2584038"/>
          </a:xfrm>
          <a:prstGeom prst="rect">
            <a:avLst/>
          </a:prstGeom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 t="66936" b="8594"/>
          <a:stretch>
            <a:fillRect/>
          </a:stretch>
        </p:blipFill>
        <p:spPr bwMode="auto">
          <a:xfrm>
            <a:off x="0" y="5105400"/>
            <a:ext cx="9144000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051727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0" y="1091473"/>
            <a:ext cx="9144000" cy="5766528"/>
            <a:chOff x="0" y="774866"/>
            <a:chExt cx="9144000" cy="6083135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33" name="Freeform 6"/>
            <p:cNvSpPr>
              <a:spLocks/>
            </p:cNvSpPr>
            <p:nvPr/>
          </p:nvSpPr>
          <p:spPr bwMode="auto">
            <a:xfrm>
              <a:off x="0" y="774866"/>
              <a:ext cx="9144000" cy="6083134"/>
            </a:xfrm>
            <a:custGeom>
              <a:avLst/>
              <a:gdLst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60360 w 9144000"/>
                <a:gd name="connsiteY75" fmla="*/ 1538217 h 6083134"/>
                <a:gd name="connsiteX76" fmla="*/ 4160360 w 9144000"/>
                <a:gd name="connsiteY76" fmla="*/ 1529902 h 6083134"/>
                <a:gd name="connsiteX77" fmla="*/ 4160360 w 9144000"/>
                <a:gd name="connsiteY77" fmla="*/ 1520401 h 6083134"/>
                <a:gd name="connsiteX78" fmla="*/ 4163861 w 9144000"/>
                <a:gd name="connsiteY78" fmla="*/ 1516046 h 6083134"/>
                <a:gd name="connsiteX79" fmla="*/ 4163861 w 9144000"/>
                <a:gd name="connsiteY79" fmla="*/ 1497042 h 6083134"/>
                <a:gd name="connsiteX80" fmla="*/ 4139354 w 9144000"/>
                <a:gd name="connsiteY80" fmla="*/ 1452700 h 6083134"/>
                <a:gd name="connsiteX81" fmla="*/ 4072836 w 9144000"/>
                <a:gd name="connsiteY81" fmla="*/ 1392521 h 6083134"/>
                <a:gd name="connsiteX82" fmla="*/ 3852275 w 9144000"/>
                <a:gd name="connsiteY82" fmla="*/ 1259494 h 6083134"/>
                <a:gd name="connsiteX83" fmla="*/ 3558194 w 9144000"/>
                <a:gd name="connsiteY83" fmla="*/ 1132802 h 6083134"/>
                <a:gd name="connsiteX84" fmla="*/ 3232605 w 9144000"/>
                <a:gd name="connsiteY84" fmla="*/ 1018779 h 6083134"/>
                <a:gd name="connsiteX85" fmla="*/ 2528911 w 9144000"/>
                <a:gd name="connsiteY85" fmla="*/ 825574 h 6083134"/>
                <a:gd name="connsiteX86" fmla="*/ 1030499 w 9144000"/>
                <a:gd name="connsiteY86" fmla="*/ 515179 h 6083134"/>
                <a:gd name="connsiteX87" fmla="*/ 0 w 9144000"/>
                <a:gd name="connsiteY87" fmla="*/ 348488 h 6083134"/>
                <a:gd name="connsiteX88" fmla="*/ 0 w 9144000"/>
                <a:gd name="connsiteY88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60360 w 9144000"/>
                <a:gd name="connsiteY75" fmla="*/ 1538217 h 6083134"/>
                <a:gd name="connsiteX76" fmla="*/ 4160360 w 9144000"/>
                <a:gd name="connsiteY76" fmla="*/ 1520401 h 6083134"/>
                <a:gd name="connsiteX77" fmla="*/ 4163861 w 9144000"/>
                <a:gd name="connsiteY77" fmla="*/ 1516046 h 6083134"/>
                <a:gd name="connsiteX78" fmla="*/ 4163861 w 9144000"/>
                <a:gd name="connsiteY78" fmla="*/ 1497042 h 6083134"/>
                <a:gd name="connsiteX79" fmla="*/ 4139354 w 9144000"/>
                <a:gd name="connsiteY79" fmla="*/ 1452700 h 6083134"/>
                <a:gd name="connsiteX80" fmla="*/ 4072836 w 9144000"/>
                <a:gd name="connsiteY80" fmla="*/ 1392521 h 6083134"/>
                <a:gd name="connsiteX81" fmla="*/ 3852275 w 9144000"/>
                <a:gd name="connsiteY81" fmla="*/ 1259494 h 6083134"/>
                <a:gd name="connsiteX82" fmla="*/ 3558194 w 9144000"/>
                <a:gd name="connsiteY82" fmla="*/ 1132802 h 6083134"/>
                <a:gd name="connsiteX83" fmla="*/ 3232605 w 9144000"/>
                <a:gd name="connsiteY83" fmla="*/ 1018779 h 6083134"/>
                <a:gd name="connsiteX84" fmla="*/ 2528911 w 9144000"/>
                <a:gd name="connsiteY84" fmla="*/ 825574 h 6083134"/>
                <a:gd name="connsiteX85" fmla="*/ 1030499 w 9144000"/>
                <a:gd name="connsiteY85" fmla="*/ 515179 h 6083134"/>
                <a:gd name="connsiteX86" fmla="*/ 0 w 9144000"/>
                <a:gd name="connsiteY86" fmla="*/ 348488 h 6083134"/>
                <a:gd name="connsiteX87" fmla="*/ 0 w 9144000"/>
                <a:gd name="connsiteY87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60360 w 9144000"/>
                <a:gd name="connsiteY75" fmla="*/ 1538217 h 6083134"/>
                <a:gd name="connsiteX76" fmla="*/ 4160360 w 9144000"/>
                <a:gd name="connsiteY76" fmla="*/ 1520401 h 6083134"/>
                <a:gd name="connsiteX77" fmla="*/ 4163861 w 9144000"/>
                <a:gd name="connsiteY77" fmla="*/ 1497042 h 6083134"/>
                <a:gd name="connsiteX78" fmla="*/ 4139354 w 9144000"/>
                <a:gd name="connsiteY78" fmla="*/ 1452700 h 6083134"/>
                <a:gd name="connsiteX79" fmla="*/ 4072836 w 9144000"/>
                <a:gd name="connsiteY79" fmla="*/ 1392521 h 6083134"/>
                <a:gd name="connsiteX80" fmla="*/ 3852275 w 9144000"/>
                <a:gd name="connsiteY80" fmla="*/ 1259494 h 6083134"/>
                <a:gd name="connsiteX81" fmla="*/ 3558194 w 9144000"/>
                <a:gd name="connsiteY81" fmla="*/ 1132802 h 6083134"/>
                <a:gd name="connsiteX82" fmla="*/ 3232605 w 9144000"/>
                <a:gd name="connsiteY82" fmla="*/ 1018779 h 6083134"/>
                <a:gd name="connsiteX83" fmla="*/ 2528911 w 9144000"/>
                <a:gd name="connsiteY83" fmla="*/ 825574 h 6083134"/>
                <a:gd name="connsiteX84" fmla="*/ 1030499 w 9144000"/>
                <a:gd name="connsiteY84" fmla="*/ 515179 h 6083134"/>
                <a:gd name="connsiteX85" fmla="*/ 0 w 9144000"/>
                <a:gd name="connsiteY85" fmla="*/ 348488 h 6083134"/>
                <a:gd name="connsiteX86" fmla="*/ 0 w 9144000"/>
                <a:gd name="connsiteY86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60360 w 9144000"/>
                <a:gd name="connsiteY75" fmla="*/ 1538217 h 6083134"/>
                <a:gd name="connsiteX76" fmla="*/ 4163861 w 9144000"/>
                <a:gd name="connsiteY76" fmla="*/ 1497042 h 6083134"/>
                <a:gd name="connsiteX77" fmla="*/ 4139354 w 9144000"/>
                <a:gd name="connsiteY77" fmla="*/ 1452700 h 6083134"/>
                <a:gd name="connsiteX78" fmla="*/ 4072836 w 9144000"/>
                <a:gd name="connsiteY78" fmla="*/ 1392521 h 6083134"/>
                <a:gd name="connsiteX79" fmla="*/ 3852275 w 9144000"/>
                <a:gd name="connsiteY79" fmla="*/ 1259494 h 6083134"/>
                <a:gd name="connsiteX80" fmla="*/ 3558194 w 9144000"/>
                <a:gd name="connsiteY80" fmla="*/ 1132802 h 6083134"/>
                <a:gd name="connsiteX81" fmla="*/ 3232605 w 9144000"/>
                <a:gd name="connsiteY81" fmla="*/ 1018779 h 6083134"/>
                <a:gd name="connsiteX82" fmla="*/ 2528911 w 9144000"/>
                <a:gd name="connsiteY82" fmla="*/ 825574 h 6083134"/>
                <a:gd name="connsiteX83" fmla="*/ 1030499 w 9144000"/>
                <a:gd name="connsiteY83" fmla="*/ 515179 h 6083134"/>
                <a:gd name="connsiteX84" fmla="*/ 0 w 9144000"/>
                <a:gd name="connsiteY84" fmla="*/ 348488 h 6083134"/>
                <a:gd name="connsiteX85" fmla="*/ 0 w 9144000"/>
                <a:gd name="connsiteY85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63861 w 9144000"/>
                <a:gd name="connsiteY75" fmla="*/ 1497042 h 6083134"/>
                <a:gd name="connsiteX76" fmla="*/ 4139354 w 9144000"/>
                <a:gd name="connsiteY76" fmla="*/ 1452700 h 6083134"/>
                <a:gd name="connsiteX77" fmla="*/ 4072836 w 9144000"/>
                <a:gd name="connsiteY77" fmla="*/ 1392521 h 6083134"/>
                <a:gd name="connsiteX78" fmla="*/ 3852275 w 9144000"/>
                <a:gd name="connsiteY78" fmla="*/ 1259494 h 6083134"/>
                <a:gd name="connsiteX79" fmla="*/ 3558194 w 9144000"/>
                <a:gd name="connsiteY79" fmla="*/ 1132802 h 6083134"/>
                <a:gd name="connsiteX80" fmla="*/ 3232605 w 9144000"/>
                <a:gd name="connsiteY80" fmla="*/ 1018779 h 6083134"/>
                <a:gd name="connsiteX81" fmla="*/ 2528911 w 9144000"/>
                <a:gd name="connsiteY81" fmla="*/ 825574 h 6083134"/>
                <a:gd name="connsiteX82" fmla="*/ 1030499 w 9144000"/>
                <a:gd name="connsiteY82" fmla="*/ 515179 h 6083134"/>
                <a:gd name="connsiteX83" fmla="*/ 0 w 9144000"/>
                <a:gd name="connsiteY83" fmla="*/ 348488 h 6083134"/>
                <a:gd name="connsiteX84" fmla="*/ 0 w 9144000"/>
                <a:gd name="connsiteY84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63861 w 9144000"/>
                <a:gd name="connsiteY75" fmla="*/ 1497042 h 6083134"/>
                <a:gd name="connsiteX76" fmla="*/ 4139354 w 9144000"/>
                <a:gd name="connsiteY76" fmla="*/ 1452700 h 6083134"/>
                <a:gd name="connsiteX77" fmla="*/ 4072836 w 9144000"/>
                <a:gd name="connsiteY77" fmla="*/ 1392521 h 6083134"/>
                <a:gd name="connsiteX78" fmla="*/ 3852275 w 9144000"/>
                <a:gd name="connsiteY78" fmla="*/ 1259494 h 6083134"/>
                <a:gd name="connsiteX79" fmla="*/ 3558194 w 9144000"/>
                <a:gd name="connsiteY79" fmla="*/ 1132802 h 6083134"/>
                <a:gd name="connsiteX80" fmla="*/ 3232605 w 9144000"/>
                <a:gd name="connsiteY80" fmla="*/ 1018779 h 6083134"/>
                <a:gd name="connsiteX81" fmla="*/ 2528911 w 9144000"/>
                <a:gd name="connsiteY81" fmla="*/ 825574 h 6083134"/>
                <a:gd name="connsiteX82" fmla="*/ 1030499 w 9144000"/>
                <a:gd name="connsiteY82" fmla="*/ 515179 h 6083134"/>
                <a:gd name="connsiteX83" fmla="*/ 0 w 9144000"/>
                <a:gd name="connsiteY83" fmla="*/ 348488 h 6083134"/>
                <a:gd name="connsiteX84" fmla="*/ 0 w 9144000"/>
                <a:gd name="connsiteY84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39354 w 9144000"/>
                <a:gd name="connsiteY75" fmla="*/ 1452700 h 6083134"/>
                <a:gd name="connsiteX76" fmla="*/ 4072836 w 9144000"/>
                <a:gd name="connsiteY76" fmla="*/ 1392521 h 6083134"/>
                <a:gd name="connsiteX77" fmla="*/ 3852275 w 9144000"/>
                <a:gd name="connsiteY77" fmla="*/ 1259494 h 6083134"/>
                <a:gd name="connsiteX78" fmla="*/ 3558194 w 9144000"/>
                <a:gd name="connsiteY78" fmla="*/ 1132802 h 6083134"/>
                <a:gd name="connsiteX79" fmla="*/ 3232605 w 9144000"/>
                <a:gd name="connsiteY79" fmla="*/ 1018779 h 6083134"/>
                <a:gd name="connsiteX80" fmla="*/ 2528911 w 9144000"/>
                <a:gd name="connsiteY80" fmla="*/ 825574 h 6083134"/>
                <a:gd name="connsiteX81" fmla="*/ 1030499 w 9144000"/>
                <a:gd name="connsiteY81" fmla="*/ 515179 h 6083134"/>
                <a:gd name="connsiteX82" fmla="*/ 0 w 9144000"/>
                <a:gd name="connsiteY82" fmla="*/ 348488 h 6083134"/>
                <a:gd name="connsiteX83" fmla="*/ 0 w 9144000"/>
                <a:gd name="connsiteY83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39354 w 9144000"/>
                <a:gd name="connsiteY75" fmla="*/ 1452700 h 6083134"/>
                <a:gd name="connsiteX76" fmla="*/ 4072836 w 9144000"/>
                <a:gd name="connsiteY76" fmla="*/ 1392521 h 6083134"/>
                <a:gd name="connsiteX77" fmla="*/ 3852275 w 9144000"/>
                <a:gd name="connsiteY77" fmla="*/ 1259494 h 6083134"/>
                <a:gd name="connsiteX78" fmla="*/ 3558194 w 9144000"/>
                <a:gd name="connsiteY78" fmla="*/ 1132802 h 6083134"/>
                <a:gd name="connsiteX79" fmla="*/ 3232605 w 9144000"/>
                <a:gd name="connsiteY79" fmla="*/ 1018779 h 6083134"/>
                <a:gd name="connsiteX80" fmla="*/ 2528911 w 9144000"/>
                <a:gd name="connsiteY80" fmla="*/ 825574 h 6083134"/>
                <a:gd name="connsiteX81" fmla="*/ 1030499 w 9144000"/>
                <a:gd name="connsiteY81" fmla="*/ 515179 h 6083134"/>
                <a:gd name="connsiteX82" fmla="*/ 0 w 9144000"/>
                <a:gd name="connsiteY82" fmla="*/ 348488 h 6083134"/>
                <a:gd name="connsiteX83" fmla="*/ 0 w 9144000"/>
                <a:gd name="connsiteY83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39354 w 9144000"/>
                <a:gd name="connsiteY75" fmla="*/ 1452700 h 6083134"/>
                <a:gd name="connsiteX76" fmla="*/ 4072836 w 9144000"/>
                <a:gd name="connsiteY76" fmla="*/ 1392521 h 6083134"/>
                <a:gd name="connsiteX77" fmla="*/ 3852275 w 9144000"/>
                <a:gd name="connsiteY77" fmla="*/ 1259494 h 6083134"/>
                <a:gd name="connsiteX78" fmla="*/ 3558194 w 9144000"/>
                <a:gd name="connsiteY78" fmla="*/ 1132802 h 6083134"/>
                <a:gd name="connsiteX79" fmla="*/ 3232605 w 9144000"/>
                <a:gd name="connsiteY79" fmla="*/ 1018779 h 6083134"/>
                <a:gd name="connsiteX80" fmla="*/ 2528911 w 9144000"/>
                <a:gd name="connsiteY80" fmla="*/ 825574 h 6083134"/>
                <a:gd name="connsiteX81" fmla="*/ 1030499 w 9144000"/>
                <a:gd name="connsiteY81" fmla="*/ 515179 h 6083134"/>
                <a:gd name="connsiteX82" fmla="*/ 0 w 9144000"/>
                <a:gd name="connsiteY82" fmla="*/ 348488 h 6083134"/>
                <a:gd name="connsiteX83" fmla="*/ 0 w 9144000"/>
                <a:gd name="connsiteY83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84753 h 6083134"/>
                <a:gd name="connsiteX32" fmla="*/ 2525410 w 9144000"/>
                <a:gd name="connsiteY32" fmla="*/ 3394255 h 6083134"/>
                <a:gd name="connsiteX33" fmla="*/ 2528911 w 9144000"/>
                <a:gd name="connsiteY33" fmla="*/ 3399797 h 6083134"/>
                <a:gd name="connsiteX34" fmla="*/ 2563921 w 9144000"/>
                <a:gd name="connsiteY34" fmla="*/ 3470270 h 6083134"/>
                <a:gd name="connsiteX35" fmla="*/ 2640942 w 9144000"/>
                <a:gd name="connsiteY35" fmla="*/ 3558954 h 6083134"/>
                <a:gd name="connsiteX36" fmla="*/ 2977035 w 9144000"/>
                <a:gd name="connsiteY36" fmla="*/ 3787000 h 6083134"/>
                <a:gd name="connsiteX37" fmla="*/ 3491676 w 9144000"/>
                <a:gd name="connsiteY37" fmla="*/ 4018213 h 6083134"/>
                <a:gd name="connsiteX38" fmla="*/ 4104345 w 9144000"/>
                <a:gd name="connsiteY38" fmla="*/ 4230422 h 6083134"/>
                <a:gd name="connsiteX39" fmla="*/ 4769528 w 9144000"/>
                <a:gd name="connsiteY39" fmla="*/ 4414126 h 6083134"/>
                <a:gd name="connsiteX40" fmla="*/ 6183917 w 9144000"/>
                <a:gd name="connsiteY40" fmla="*/ 4727688 h 6083134"/>
                <a:gd name="connsiteX41" fmla="*/ 7661324 w 9144000"/>
                <a:gd name="connsiteY41" fmla="*/ 4977905 h 6083134"/>
                <a:gd name="connsiteX42" fmla="*/ 9144000 w 9144000"/>
                <a:gd name="connsiteY42" fmla="*/ 5180860 h 6083134"/>
                <a:gd name="connsiteX43" fmla="*/ 9144000 w 9144000"/>
                <a:gd name="connsiteY43" fmla="*/ 6083134 h 6083134"/>
                <a:gd name="connsiteX44" fmla="*/ 4375201 w 9144000"/>
                <a:gd name="connsiteY44" fmla="*/ 6083134 h 6083134"/>
                <a:gd name="connsiteX45" fmla="*/ 3764751 w 9144000"/>
                <a:gd name="connsiteY45" fmla="*/ 5874251 h 6083134"/>
                <a:gd name="connsiteX46" fmla="*/ 3001541 w 9144000"/>
                <a:gd name="connsiteY46" fmla="*/ 5582860 h 6083134"/>
                <a:gd name="connsiteX47" fmla="*/ 2252335 w 9144000"/>
                <a:gd name="connsiteY47" fmla="*/ 5234456 h 6083134"/>
                <a:gd name="connsiteX48" fmla="*/ 1524135 w 9144000"/>
                <a:gd name="connsiteY48" fmla="*/ 4797369 h 6083134"/>
                <a:gd name="connsiteX49" fmla="*/ 1181040 w 9144000"/>
                <a:gd name="connsiteY49" fmla="*/ 4521814 h 6083134"/>
                <a:gd name="connsiteX50" fmla="*/ 879957 w 9144000"/>
                <a:gd name="connsiteY50" fmla="*/ 4186080 h 6083134"/>
                <a:gd name="connsiteX51" fmla="*/ 673400 w 9144000"/>
                <a:gd name="connsiteY51" fmla="*/ 3774331 h 6083134"/>
                <a:gd name="connsiteX52" fmla="*/ 641892 w 9144000"/>
                <a:gd name="connsiteY52" fmla="*/ 3315072 h 6083134"/>
                <a:gd name="connsiteX53" fmla="*/ 645393 w 9144000"/>
                <a:gd name="connsiteY53" fmla="*/ 3286567 h 6083134"/>
                <a:gd name="connsiteX54" fmla="*/ 648456 w 9144000"/>
                <a:gd name="connsiteY54" fmla="*/ 3269938 h 6083134"/>
                <a:gd name="connsiteX55" fmla="*/ 652395 w 9144000"/>
                <a:gd name="connsiteY55" fmla="*/ 3254894 h 6083134"/>
                <a:gd name="connsiteX56" fmla="*/ 655458 w 9144000"/>
                <a:gd name="connsiteY56" fmla="*/ 3246579 h 6083134"/>
                <a:gd name="connsiteX57" fmla="*/ 655896 w 9144000"/>
                <a:gd name="connsiteY57" fmla="*/ 3238265 h 6083134"/>
                <a:gd name="connsiteX58" fmla="*/ 655896 w 9144000"/>
                <a:gd name="connsiteY58" fmla="*/ 3235890 h 6083134"/>
                <a:gd name="connsiteX59" fmla="*/ 658959 w 9144000"/>
                <a:gd name="connsiteY59" fmla="*/ 3230347 h 6083134"/>
                <a:gd name="connsiteX60" fmla="*/ 666398 w 9144000"/>
                <a:gd name="connsiteY60" fmla="*/ 3207384 h 6083134"/>
                <a:gd name="connsiteX61" fmla="*/ 694406 w 9144000"/>
                <a:gd name="connsiteY61" fmla="*/ 3115533 h 6083134"/>
                <a:gd name="connsiteX62" fmla="*/ 778429 w 9144000"/>
                <a:gd name="connsiteY62" fmla="*/ 2925494 h 6083134"/>
                <a:gd name="connsiteX63" fmla="*/ 1062007 w 9144000"/>
                <a:gd name="connsiteY63" fmla="*/ 2548585 h 6083134"/>
                <a:gd name="connsiteX64" fmla="*/ 1506630 w 9144000"/>
                <a:gd name="connsiteY64" fmla="*/ 2222354 h 6083134"/>
                <a:gd name="connsiteX65" fmla="*/ 2031774 w 9144000"/>
                <a:gd name="connsiteY65" fmla="*/ 2016479 h 6083134"/>
                <a:gd name="connsiteX66" fmla="*/ 2532412 w 9144000"/>
                <a:gd name="connsiteY66" fmla="*/ 1905623 h 6083134"/>
                <a:gd name="connsiteX67" fmla="*/ 2984036 w 9144000"/>
                <a:gd name="connsiteY67" fmla="*/ 1851779 h 6083134"/>
                <a:gd name="connsiteX68" fmla="*/ 3386647 w 9144000"/>
                <a:gd name="connsiteY68" fmla="*/ 1816939 h 6083134"/>
                <a:gd name="connsiteX69" fmla="*/ 3726241 w 9144000"/>
                <a:gd name="connsiteY69" fmla="*/ 1782099 h 6083134"/>
                <a:gd name="connsiteX70" fmla="*/ 3967807 w 9144000"/>
                <a:gd name="connsiteY70" fmla="*/ 1740924 h 6083134"/>
                <a:gd name="connsiteX71" fmla="*/ 4030824 w 9144000"/>
                <a:gd name="connsiteY71" fmla="*/ 1725087 h 6083134"/>
                <a:gd name="connsiteX72" fmla="*/ 4072836 w 9144000"/>
                <a:gd name="connsiteY72" fmla="*/ 1709251 h 6083134"/>
                <a:gd name="connsiteX73" fmla="*/ 4111347 w 9144000"/>
                <a:gd name="connsiteY73" fmla="*/ 1680745 h 6083134"/>
                <a:gd name="connsiteX74" fmla="*/ 4142855 w 9144000"/>
                <a:gd name="connsiteY74" fmla="*/ 1623734 h 6083134"/>
                <a:gd name="connsiteX75" fmla="*/ 4139354 w 9144000"/>
                <a:gd name="connsiteY75" fmla="*/ 1452700 h 6083134"/>
                <a:gd name="connsiteX76" fmla="*/ 4072836 w 9144000"/>
                <a:gd name="connsiteY76" fmla="*/ 1392521 h 6083134"/>
                <a:gd name="connsiteX77" fmla="*/ 3852275 w 9144000"/>
                <a:gd name="connsiteY77" fmla="*/ 1259494 h 6083134"/>
                <a:gd name="connsiteX78" fmla="*/ 3558194 w 9144000"/>
                <a:gd name="connsiteY78" fmla="*/ 1132802 h 6083134"/>
                <a:gd name="connsiteX79" fmla="*/ 3232605 w 9144000"/>
                <a:gd name="connsiteY79" fmla="*/ 1018779 h 6083134"/>
                <a:gd name="connsiteX80" fmla="*/ 2528911 w 9144000"/>
                <a:gd name="connsiteY80" fmla="*/ 825574 h 6083134"/>
                <a:gd name="connsiteX81" fmla="*/ 1030499 w 9144000"/>
                <a:gd name="connsiteY81" fmla="*/ 515179 h 6083134"/>
                <a:gd name="connsiteX82" fmla="*/ 0 w 9144000"/>
                <a:gd name="connsiteY82" fmla="*/ 348488 h 6083134"/>
                <a:gd name="connsiteX83" fmla="*/ 0 w 9144000"/>
                <a:gd name="connsiteY83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80398 h 6083134"/>
                <a:gd name="connsiteX31" fmla="*/ 2525410 w 9144000"/>
                <a:gd name="connsiteY31" fmla="*/ 3394255 h 6083134"/>
                <a:gd name="connsiteX32" fmla="*/ 2528911 w 9144000"/>
                <a:gd name="connsiteY32" fmla="*/ 3399797 h 6083134"/>
                <a:gd name="connsiteX33" fmla="*/ 2563921 w 9144000"/>
                <a:gd name="connsiteY33" fmla="*/ 3470270 h 6083134"/>
                <a:gd name="connsiteX34" fmla="*/ 2640942 w 9144000"/>
                <a:gd name="connsiteY34" fmla="*/ 3558954 h 6083134"/>
                <a:gd name="connsiteX35" fmla="*/ 2977035 w 9144000"/>
                <a:gd name="connsiteY35" fmla="*/ 3787000 h 6083134"/>
                <a:gd name="connsiteX36" fmla="*/ 3491676 w 9144000"/>
                <a:gd name="connsiteY36" fmla="*/ 4018213 h 6083134"/>
                <a:gd name="connsiteX37" fmla="*/ 4104345 w 9144000"/>
                <a:gd name="connsiteY37" fmla="*/ 4230422 h 6083134"/>
                <a:gd name="connsiteX38" fmla="*/ 4769528 w 9144000"/>
                <a:gd name="connsiteY38" fmla="*/ 4414126 h 6083134"/>
                <a:gd name="connsiteX39" fmla="*/ 6183917 w 9144000"/>
                <a:gd name="connsiteY39" fmla="*/ 4727688 h 6083134"/>
                <a:gd name="connsiteX40" fmla="*/ 7661324 w 9144000"/>
                <a:gd name="connsiteY40" fmla="*/ 4977905 h 6083134"/>
                <a:gd name="connsiteX41" fmla="*/ 9144000 w 9144000"/>
                <a:gd name="connsiteY41" fmla="*/ 5180860 h 6083134"/>
                <a:gd name="connsiteX42" fmla="*/ 9144000 w 9144000"/>
                <a:gd name="connsiteY42" fmla="*/ 6083134 h 6083134"/>
                <a:gd name="connsiteX43" fmla="*/ 4375201 w 9144000"/>
                <a:gd name="connsiteY43" fmla="*/ 6083134 h 6083134"/>
                <a:gd name="connsiteX44" fmla="*/ 3764751 w 9144000"/>
                <a:gd name="connsiteY44" fmla="*/ 5874251 h 6083134"/>
                <a:gd name="connsiteX45" fmla="*/ 3001541 w 9144000"/>
                <a:gd name="connsiteY45" fmla="*/ 5582860 h 6083134"/>
                <a:gd name="connsiteX46" fmla="*/ 2252335 w 9144000"/>
                <a:gd name="connsiteY46" fmla="*/ 5234456 h 6083134"/>
                <a:gd name="connsiteX47" fmla="*/ 1524135 w 9144000"/>
                <a:gd name="connsiteY47" fmla="*/ 4797369 h 6083134"/>
                <a:gd name="connsiteX48" fmla="*/ 1181040 w 9144000"/>
                <a:gd name="connsiteY48" fmla="*/ 4521814 h 6083134"/>
                <a:gd name="connsiteX49" fmla="*/ 879957 w 9144000"/>
                <a:gd name="connsiteY49" fmla="*/ 4186080 h 6083134"/>
                <a:gd name="connsiteX50" fmla="*/ 673400 w 9144000"/>
                <a:gd name="connsiteY50" fmla="*/ 3774331 h 6083134"/>
                <a:gd name="connsiteX51" fmla="*/ 641892 w 9144000"/>
                <a:gd name="connsiteY51" fmla="*/ 3315072 h 6083134"/>
                <a:gd name="connsiteX52" fmla="*/ 645393 w 9144000"/>
                <a:gd name="connsiteY52" fmla="*/ 3286567 h 6083134"/>
                <a:gd name="connsiteX53" fmla="*/ 648456 w 9144000"/>
                <a:gd name="connsiteY53" fmla="*/ 3269938 h 6083134"/>
                <a:gd name="connsiteX54" fmla="*/ 652395 w 9144000"/>
                <a:gd name="connsiteY54" fmla="*/ 3254894 h 6083134"/>
                <a:gd name="connsiteX55" fmla="*/ 655458 w 9144000"/>
                <a:gd name="connsiteY55" fmla="*/ 3246579 h 6083134"/>
                <a:gd name="connsiteX56" fmla="*/ 655896 w 9144000"/>
                <a:gd name="connsiteY56" fmla="*/ 3238265 h 6083134"/>
                <a:gd name="connsiteX57" fmla="*/ 655896 w 9144000"/>
                <a:gd name="connsiteY57" fmla="*/ 3235890 h 6083134"/>
                <a:gd name="connsiteX58" fmla="*/ 658959 w 9144000"/>
                <a:gd name="connsiteY58" fmla="*/ 3230347 h 6083134"/>
                <a:gd name="connsiteX59" fmla="*/ 666398 w 9144000"/>
                <a:gd name="connsiteY59" fmla="*/ 3207384 h 6083134"/>
                <a:gd name="connsiteX60" fmla="*/ 694406 w 9144000"/>
                <a:gd name="connsiteY60" fmla="*/ 3115533 h 6083134"/>
                <a:gd name="connsiteX61" fmla="*/ 778429 w 9144000"/>
                <a:gd name="connsiteY61" fmla="*/ 2925494 h 6083134"/>
                <a:gd name="connsiteX62" fmla="*/ 1062007 w 9144000"/>
                <a:gd name="connsiteY62" fmla="*/ 2548585 h 6083134"/>
                <a:gd name="connsiteX63" fmla="*/ 1506630 w 9144000"/>
                <a:gd name="connsiteY63" fmla="*/ 2222354 h 6083134"/>
                <a:gd name="connsiteX64" fmla="*/ 2031774 w 9144000"/>
                <a:gd name="connsiteY64" fmla="*/ 2016479 h 6083134"/>
                <a:gd name="connsiteX65" fmla="*/ 2532412 w 9144000"/>
                <a:gd name="connsiteY65" fmla="*/ 1905623 h 6083134"/>
                <a:gd name="connsiteX66" fmla="*/ 2984036 w 9144000"/>
                <a:gd name="connsiteY66" fmla="*/ 1851779 h 6083134"/>
                <a:gd name="connsiteX67" fmla="*/ 3386647 w 9144000"/>
                <a:gd name="connsiteY67" fmla="*/ 1816939 h 6083134"/>
                <a:gd name="connsiteX68" fmla="*/ 3726241 w 9144000"/>
                <a:gd name="connsiteY68" fmla="*/ 1782099 h 6083134"/>
                <a:gd name="connsiteX69" fmla="*/ 3967807 w 9144000"/>
                <a:gd name="connsiteY69" fmla="*/ 1740924 h 6083134"/>
                <a:gd name="connsiteX70" fmla="*/ 4030824 w 9144000"/>
                <a:gd name="connsiteY70" fmla="*/ 1725087 h 6083134"/>
                <a:gd name="connsiteX71" fmla="*/ 4072836 w 9144000"/>
                <a:gd name="connsiteY71" fmla="*/ 1709251 h 6083134"/>
                <a:gd name="connsiteX72" fmla="*/ 4111347 w 9144000"/>
                <a:gd name="connsiteY72" fmla="*/ 1680745 h 6083134"/>
                <a:gd name="connsiteX73" fmla="*/ 4142855 w 9144000"/>
                <a:gd name="connsiteY73" fmla="*/ 1623734 h 6083134"/>
                <a:gd name="connsiteX74" fmla="*/ 4139354 w 9144000"/>
                <a:gd name="connsiteY74" fmla="*/ 1452700 h 6083134"/>
                <a:gd name="connsiteX75" fmla="*/ 4072836 w 9144000"/>
                <a:gd name="connsiteY75" fmla="*/ 1392521 h 6083134"/>
                <a:gd name="connsiteX76" fmla="*/ 3852275 w 9144000"/>
                <a:gd name="connsiteY76" fmla="*/ 1259494 h 6083134"/>
                <a:gd name="connsiteX77" fmla="*/ 3558194 w 9144000"/>
                <a:gd name="connsiteY77" fmla="*/ 1132802 h 6083134"/>
                <a:gd name="connsiteX78" fmla="*/ 3232605 w 9144000"/>
                <a:gd name="connsiteY78" fmla="*/ 1018779 h 6083134"/>
                <a:gd name="connsiteX79" fmla="*/ 2528911 w 9144000"/>
                <a:gd name="connsiteY79" fmla="*/ 825574 h 6083134"/>
                <a:gd name="connsiteX80" fmla="*/ 1030499 w 9144000"/>
                <a:gd name="connsiteY80" fmla="*/ 515179 h 6083134"/>
                <a:gd name="connsiteX81" fmla="*/ 0 w 9144000"/>
                <a:gd name="connsiteY81" fmla="*/ 348488 h 6083134"/>
                <a:gd name="connsiteX82" fmla="*/ 0 w 9144000"/>
                <a:gd name="connsiteY82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72084 h 6083134"/>
                <a:gd name="connsiteX30" fmla="*/ 2525410 w 9144000"/>
                <a:gd name="connsiteY30" fmla="*/ 3394255 h 6083134"/>
                <a:gd name="connsiteX31" fmla="*/ 2528911 w 9144000"/>
                <a:gd name="connsiteY31" fmla="*/ 3399797 h 6083134"/>
                <a:gd name="connsiteX32" fmla="*/ 2563921 w 9144000"/>
                <a:gd name="connsiteY32" fmla="*/ 3470270 h 6083134"/>
                <a:gd name="connsiteX33" fmla="*/ 2640942 w 9144000"/>
                <a:gd name="connsiteY33" fmla="*/ 3558954 h 6083134"/>
                <a:gd name="connsiteX34" fmla="*/ 2977035 w 9144000"/>
                <a:gd name="connsiteY34" fmla="*/ 3787000 h 6083134"/>
                <a:gd name="connsiteX35" fmla="*/ 3491676 w 9144000"/>
                <a:gd name="connsiteY35" fmla="*/ 4018213 h 6083134"/>
                <a:gd name="connsiteX36" fmla="*/ 4104345 w 9144000"/>
                <a:gd name="connsiteY36" fmla="*/ 4230422 h 6083134"/>
                <a:gd name="connsiteX37" fmla="*/ 4769528 w 9144000"/>
                <a:gd name="connsiteY37" fmla="*/ 4414126 h 6083134"/>
                <a:gd name="connsiteX38" fmla="*/ 6183917 w 9144000"/>
                <a:gd name="connsiteY38" fmla="*/ 4727688 h 6083134"/>
                <a:gd name="connsiteX39" fmla="*/ 7661324 w 9144000"/>
                <a:gd name="connsiteY39" fmla="*/ 4977905 h 6083134"/>
                <a:gd name="connsiteX40" fmla="*/ 9144000 w 9144000"/>
                <a:gd name="connsiteY40" fmla="*/ 5180860 h 6083134"/>
                <a:gd name="connsiteX41" fmla="*/ 9144000 w 9144000"/>
                <a:gd name="connsiteY41" fmla="*/ 6083134 h 6083134"/>
                <a:gd name="connsiteX42" fmla="*/ 4375201 w 9144000"/>
                <a:gd name="connsiteY42" fmla="*/ 6083134 h 6083134"/>
                <a:gd name="connsiteX43" fmla="*/ 3764751 w 9144000"/>
                <a:gd name="connsiteY43" fmla="*/ 5874251 h 6083134"/>
                <a:gd name="connsiteX44" fmla="*/ 3001541 w 9144000"/>
                <a:gd name="connsiteY44" fmla="*/ 5582860 h 6083134"/>
                <a:gd name="connsiteX45" fmla="*/ 2252335 w 9144000"/>
                <a:gd name="connsiteY45" fmla="*/ 5234456 h 6083134"/>
                <a:gd name="connsiteX46" fmla="*/ 1524135 w 9144000"/>
                <a:gd name="connsiteY46" fmla="*/ 4797369 h 6083134"/>
                <a:gd name="connsiteX47" fmla="*/ 1181040 w 9144000"/>
                <a:gd name="connsiteY47" fmla="*/ 4521814 h 6083134"/>
                <a:gd name="connsiteX48" fmla="*/ 879957 w 9144000"/>
                <a:gd name="connsiteY48" fmla="*/ 4186080 h 6083134"/>
                <a:gd name="connsiteX49" fmla="*/ 673400 w 9144000"/>
                <a:gd name="connsiteY49" fmla="*/ 3774331 h 6083134"/>
                <a:gd name="connsiteX50" fmla="*/ 641892 w 9144000"/>
                <a:gd name="connsiteY50" fmla="*/ 3315072 h 6083134"/>
                <a:gd name="connsiteX51" fmla="*/ 645393 w 9144000"/>
                <a:gd name="connsiteY51" fmla="*/ 3286567 h 6083134"/>
                <a:gd name="connsiteX52" fmla="*/ 648456 w 9144000"/>
                <a:gd name="connsiteY52" fmla="*/ 3269938 h 6083134"/>
                <a:gd name="connsiteX53" fmla="*/ 652395 w 9144000"/>
                <a:gd name="connsiteY53" fmla="*/ 3254894 h 6083134"/>
                <a:gd name="connsiteX54" fmla="*/ 655458 w 9144000"/>
                <a:gd name="connsiteY54" fmla="*/ 3246579 h 6083134"/>
                <a:gd name="connsiteX55" fmla="*/ 655896 w 9144000"/>
                <a:gd name="connsiteY55" fmla="*/ 3238265 h 6083134"/>
                <a:gd name="connsiteX56" fmla="*/ 655896 w 9144000"/>
                <a:gd name="connsiteY56" fmla="*/ 3235890 h 6083134"/>
                <a:gd name="connsiteX57" fmla="*/ 658959 w 9144000"/>
                <a:gd name="connsiteY57" fmla="*/ 3230347 h 6083134"/>
                <a:gd name="connsiteX58" fmla="*/ 666398 w 9144000"/>
                <a:gd name="connsiteY58" fmla="*/ 3207384 h 6083134"/>
                <a:gd name="connsiteX59" fmla="*/ 694406 w 9144000"/>
                <a:gd name="connsiteY59" fmla="*/ 3115533 h 6083134"/>
                <a:gd name="connsiteX60" fmla="*/ 778429 w 9144000"/>
                <a:gd name="connsiteY60" fmla="*/ 2925494 h 6083134"/>
                <a:gd name="connsiteX61" fmla="*/ 1062007 w 9144000"/>
                <a:gd name="connsiteY61" fmla="*/ 2548585 h 6083134"/>
                <a:gd name="connsiteX62" fmla="*/ 1506630 w 9144000"/>
                <a:gd name="connsiteY62" fmla="*/ 2222354 h 6083134"/>
                <a:gd name="connsiteX63" fmla="*/ 2031774 w 9144000"/>
                <a:gd name="connsiteY63" fmla="*/ 2016479 h 6083134"/>
                <a:gd name="connsiteX64" fmla="*/ 2532412 w 9144000"/>
                <a:gd name="connsiteY64" fmla="*/ 1905623 h 6083134"/>
                <a:gd name="connsiteX65" fmla="*/ 2984036 w 9144000"/>
                <a:gd name="connsiteY65" fmla="*/ 1851779 h 6083134"/>
                <a:gd name="connsiteX66" fmla="*/ 3386647 w 9144000"/>
                <a:gd name="connsiteY66" fmla="*/ 1816939 h 6083134"/>
                <a:gd name="connsiteX67" fmla="*/ 3726241 w 9144000"/>
                <a:gd name="connsiteY67" fmla="*/ 1782099 h 6083134"/>
                <a:gd name="connsiteX68" fmla="*/ 3967807 w 9144000"/>
                <a:gd name="connsiteY68" fmla="*/ 1740924 h 6083134"/>
                <a:gd name="connsiteX69" fmla="*/ 4030824 w 9144000"/>
                <a:gd name="connsiteY69" fmla="*/ 1725087 h 6083134"/>
                <a:gd name="connsiteX70" fmla="*/ 4072836 w 9144000"/>
                <a:gd name="connsiteY70" fmla="*/ 1709251 h 6083134"/>
                <a:gd name="connsiteX71" fmla="*/ 4111347 w 9144000"/>
                <a:gd name="connsiteY71" fmla="*/ 1680745 h 6083134"/>
                <a:gd name="connsiteX72" fmla="*/ 4142855 w 9144000"/>
                <a:gd name="connsiteY72" fmla="*/ 1623734 h 6083134"/>
                <a:gd name="connsiteX73" fmla="*/ 4139354 w 9144000"/>
                <a:gd name="connsiteY73" fmla="*/ 1452700 h 6083134"/>
                <a:gd name="connsiteX74" fmla="*/ 4072836 w 9144000"/>
                <a:gd name="connsiteY74" fmla="*/ 1392521 h 6083134"/>
                <a:gd name="connsiteX75" fmla="*/ 3852275 w 9144000"/>
                <a:gd name="connsiteY75" fmla="*/ 1259494 h 6083134"/>
                <a:gd name="connsiteX76" fmla="*/ 3558194 w 9144000"/>
                <a:gd name="connsiteY76" fmla="*/ 1132802 h 6083134"/>
                <a:gd name="connsiteX77" fmla="*/ 3232605 w 9144000"/>
                <a:gd name="connsiteY77" fmla="*/ 1018779 h 6083134"/>
                <a:gd name="connsiteX78" fmla="*/ 2528911 w 9144000"/>
                <a:gd name="connsiteY78" fmla="*/ 825574 h 6083134"/>
                <a:gd name="connsiteX79" fmla="*/ 1030499 w 9144000"/>
                <a:gd name="connsiteY79" fmla="*/ 515179 h 6083134"/>
                <a:gd name="connsiteX80" fmla="*/ 0 w 9144000"/>
                <a:gd name="connsiteY80" fmla="*/ 348488 h 6083134"/>
                <a:gd name="connsiteX81" fmla="*/ 0 w 9144000"/>
                <a:gd name="connsiteY81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94255 h 6083134"/>
                <a:gd name="connsiteX30" fmla="*/ 2528911 w 9144000"/>
                <a:gd name="connsiteY30" fmla="*/ 3399797 h 6083134"/>
                <a:gd name="connsiteX31" fmla="*/ 2563921 w 9144000"/>
                <a:gd name="connsiteY31" fmla="*/ 3470270 h 6083134"/>
                <a:gd name="connsiteX32" fmla="*/ 2640942 w 9144000"/>
                <a:gd name="connsiteY32" fmla="*/ 3558954 h 6083134"/>
                <a:gd name="connsiteX33" fmla="*/ 2977035 w 9144000"/>
                <a:gd name="connsiteY33" fmla="*/ 3787000 h 6083134"/>
                <a:gd name="connsiteX34" fmla="*/ 3491676 w 9144000"/>
                <a:gd name="connsiteY34" fmla="*/ 4018213 h 6083134"/>
                <a:gd name="connsiteX35" fmla="*/ 4104345 w 9144000"/>
                <a:gd name="connsiteY35" fmla="*/ 4230422 h 6083134"/>
                <a:gd name="connsiteX36" fmla="*/ 4769528 w 9144000"/>
                <a:gd name="connsiteY36" fmla="*/ 4414126 h 6083134"/>
                <a:gd name="connsiteX37" fmla="*/ 6183917 w 9144000"/>
                <a:gd name="connsiteY37" fmla="*/ 4727688 h 6083134"/>
                <a:gd name="connsiteX38" fmla="*/ 7661324 w 9144000"/>
                <a:gd name="connsiteY38" fmla="*/ 4977905 h 6083134"/>
                <a:gd name="connsiteX39" fmla="*/ 9144000 w 9144000"/>
                <a:gd name="connsiteY39" fmla="*/ 5180860 h 6083134"/>
                <a:gd name="connsiteX40" fmla="*/ 9144000 w 9144000"/>
                <a:gd name="connsiteY40" fmla="*/ 6083134 h 6083134"/>
                <a:gd name="connsiteX41" fmla="*/ 4375201 w 9144000"/>
                <a:gd name="connsiteY41" fmla="*/ 6083134 h 6083134"/>
                <a:gd name="connsiteX42" fmla="*/ 3764751 w 9144000"/>
                <a:gd name="connsiteY42" fmla="*/ 5874251 h 6083134"/>
                <a:gd name="connsiteX43" fmla="*/ 3001541 w 9144000"/>
                <a:gd name="connsiteY43" fmla="*/ 5582860 h 6083134"/>
                <a:gd name="connsiteX44" fmla="*/ 2252335 w 9144000"/>
                <a:gd name="connsiteY44" fmla="*/ 5234456 h 6083134"/>
                <a:gd name="connsiteX45" fmla="*/ 1524135 w 9144000"/>
                <a:gd name="connsiteY45" fmla="*/ 4797369 h 6083134"/>
                <a:gd name="connsiteX46" fmla="*/ 1181040 w 9144000"/>
                <a:gd name="connsiteY46" fmla="*/ 4521814 h 6083134"/>
                <a:gd name="connsiteX47" fmla="*/ 879957 w 9144000"/>
                <a:gd name="connsiteY47" fmla="*/ 4186080 h 6083134"/>
                <a:gd name="connsiteX48" fmla="*/ 673400 w 9144000"/>
                <a:gd name="connsiteY48" fmla="*/ 3774331 h 6083134"/>
                <a:gd name="connsiteX49" fmla="*/ 641892 w 9144000"/>
                <a:gd name="connsiteY49" fmla="*/ 3315072 h 6083134"/>
                <a:gd name="connsiteX50" fmla="*/ 645393 w 9144000"/>
                <a:gd name="connsiteY50" fmla="*/ 3286567 h 6083134"/>
                <a:gd name="connsiteX51" fmla="*/ 648456 w 9144000"/>
                <a:gd name="connsiteY51" fmla="*/ 3269938 h 6083134"/>
                <a:gd name="connsiteX52" fmla="*/ 652395 w 9144000"/>
                <a:gd name="connsiteY52" fmla="*/ 3254894 h 6083134"/>
                <a:gd name="connsiteX53" fmla="*/ 655458 w 9144000"/>
                <a:gd name="connsiteY53" fmla="*/ 3246579 h 6083134"/>
                <a:gd name="connsiteX54" fmla="*/ 655896 w 9144000"/>
                <a:gd name="connsiteY54" fmla="*/ 3238265 h 6083134"/>
                <a:gd name="connsiteX55" fmla="*/ 655896 w 9144000"/>
                <a:gd name="connsiteY55" fmla="*/ 3235890 h 6083134"/>
                <a:gd name="connsiteX56" fmla="*/ 658959 w 9144000"/>
                <a:gd name="connsiteY56" fmla="*/ 3230347 h 6083134"/>
                <a:gd name="connsiteX57" fmla="*/ 666398 w 9144000"/>
                <a:gd name="connsiteY57" fmla="*/ 3207384 h 6083134"/>
                <a:gd name="connsiteX58" fmla="*/ 694406 w 9144000"/>
                <a:gd name="connsiteY58" fmla="*/ 3115533 h 6083134"/>
                <a:gd name="connsiteX59" fmla="*/ 778429 w 9144000"/>
                <a:gd name="connsiteY59" fmla="*/ 2925494 h 6083134"/>
                <a:gd name="connsiteX60" fmla="*/ 1062007 w 9144000"/>
                <a:gd name="connsiteY60" fmla="*/ 2548585 h 6083134"/>
                <a:gd name="connsiteX61" fmla="*/ 1506630 w 9144000"/>
                <a:gd name="connsiteY61" fmla="*/ 2222354 h 6083134"/>
                <a:gd name="connsiteX62" fmla="*/ 2031774 w 9144000"/>
                <a:gd name="connsiteY62" fmla="*/ 2016479 h 6083134"/>
                <a:gd name="connsiteX63" fmla="*/ 2532412 w 9144000"/>
                <a:gd name="connsiteY63" fmla="*/ 1905623 h 6083134"/>
                <a:gd name="connsiteX64" fmla="*/ 2984036 w 9144000"/>
                <a:gd name="connsiteY64" fmla="*/ 1851779 h 6083134"/>
                <a:gd name="connsiteX65" fmla="*/ 3386647 w 9144000"/>
                <a:gd name="connsiteY65" fmla="*/ 1816939 h 6083134"/>
                <a:gd name="connsiteX66" fmla="*/ 3726241 w 9144000"/>
                <a:gd name="connsiteY66" fmla="*/ 1782099 h 6083134"/>
                <a:gd name="connsiteX67" fmla="*/ 3967807 w 9144000"/>
                <a:gd name="connsiteY67" fmla="*/ 1740924 h 6083134"/>
                <a:gd name="connsiteX68" fmla="*/ 4030824 w 9144000"/>
                <a:gd name="connsiteY68" fmla="*/ 1725087 h 6083134"/>
                <a:gd name="connsiteX69" fmla="*/ 4072836 w 9144000"/>
                <a:gd name="connsiteY69" fmla="*/ 1709251 h 6083134"/>
                <a:gd name="connsiteX70" fmla="*/ 4111347 w 9144000"/>
                <a:gd name="connsiteY70" fmla="*/ 1680745 h 6083134"/>
                <a:gd name="connsiteX71" fmla="*/ 4142855 w 9144000"/>
                <a:gd name="connsiteY71" fmla="*/ 1623734 h 6083134"/>
                <a:gd name="connsiteX72" fmla="*/ 4139354 w 9144000"/>
                <a:gd name="connsiteY72" fmla="*/ 1452700 h 6083134"/>
                <a:gd name="connsiteX73" fmla="*/ 4072836 w 9144000"/>
                <a:gd name="connsiteY73" fmla="*/ 1392521 h 6083134"/>
                <a:gd name="connsiteX74" fmla="*/ 3852275 w 9144000"/>
                <a:gd name="connsiteY74" fmla="*/ 1259494 h 6083134"/>
                <a:gd name="connsiteX75" fmla="*/ 3558194 w 9144000"/>
                <a:gd name="connsiteY75" fmla="*/ 1132802 h 6083134"/>
                <a:gd name="connsiteX76" fmla="*/ 3232605 w 9144000"/>
                <a:gd name="connsiteY76" fmla="*/ 1018779 h 6083134"/>
                <a:gd name="connsiteX77" fmla="*/ 2528911 w 9144000"/>
                <a:gd name="connsiteY77" fmla="*/ 825574 h 6083134"/>
                <a:gd name="connsiteX78" fmla="*/ 1030499 w 9144000"/>
                <a:gd name="connsiteY78" fmla="*/ 515179 h 6083134"/>
                <a:gd name="connsiteX79" fmla="*/ 0 w 9144000"/>
                <a:gd name="connsiteY79" fmla="*/ 348488 h 6083134"/>
                <a:gd name="connsiteX80" fmla="*/ 0 w 9144000"/>
                <a:gd name="connsiteY80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25410 w 9144000"/>
                <a:gd name="connsiteY29" fmla="*/ 3394255 h 6083134"/>
                <a:gd name="connsiteX30" fmla="*/ 2563921 w 9144000"/>
                <a:gd name="connsiteY30" fmla="*/ 3470270 h 6083134"/>
                <a:gd name="connsiteX31" fmla="*/ 2640942 w 9144000"/>
                <a:gd name="connsiteY31" fmla="*/ 3558954 h 6083134"/>
                <a:gd name="connsiteX32" fmla="*/ 2977035 w 9144000"/>
                <a:gd name="connsiteY32" fmla="*/ 3787000 h 6083134"/>
                <a:gd name="connsiteX33" fmla="*/ 3491676 w 9144000"/>
                <a:gd name="connsiteY33" fmla="*/ 4018213 h 6083134"/>
                <a:gd name="connsiteX34" fmla="*/ 4104345 w 9144000"/>
                <a:gd name="connsiteY34" fmla="*/ 4230422 h 6083134"/>
                <a:gd name="connsiteX35" fmla="*/ 4769528 w 9144000"/>
                <a:gd name="connsiteY35" fmla="*/ 4414126 h 6083134"/>
                <a:gd name="connsiteX36" fmla="*/ 6183917 w 9144000"/>
                <a:gd name="connsiteY36" fmla="*/ 4727688 h 6083134"/>
                <a:gd name="connsiteX37" fmla="*/ 7661324 w 9144000"/>
                <a:gd name="connsiteY37" fmla="*/ 4977905 h 6083134"/>
                <a:gd name="connsiteX38" fmla="*/ 9144000 w 9144000"/>
                <a:gd name="connsiteY38" fmla="*/ 5180860 h 6083134"/>
                <a:gd name="connsiteX39" fmla="*/ 9144000 w 9144000"/>
                <a:gd name="connsiteY39" fmla="*/ 6083134 h 6083134"/>
                <a:gd name="connsiteX40" fmla="*/ 4375201 w 9144000"/>
                <a:gd name="connsiteY40" fmla="*/ 6083134 h 6083134"/>
                <a:gd name="connsiteX41" fmla="*/ 3764751 w 9144000"/>
                <a:gd name="connsiteY41" fmla="*/ 5874251 h 6083134"/>
                <a:gd name="connsiteX42" fmla="*/ 3001541 w 9144000"/>
                <a:gd name="connsiteY42" fmla="*/ 5582860 h 6083134"/>
                <a:gd name="connsiteX43" fmla="*/ 2252335 w 9144000"/>
                <a:gd name="connsiteY43" fmla="*/ 5234456 h 6083134"/>
                <a:gd name="connsiteX44" fmla="*/ 1524135 w 9144000"/>
                <a:gd name="connsiteY44" fmla="*/ 4797369 h 6083134"/>
                <a:gd name="connsiteX45" fmla="*/ 1181040 w 9144000"/>
                <a:gd name="connsiteY45" fmla="*/ 4521814 h 6083134"/>
                <a:gd name="connsiteX46" fmla="*/ 879957 w 9144000"/>
                <a:gd name="connsiteY46" fmla="*/ 4186080 h 6083134"/>
                <a:gd name="connsiteX47" fmla="*/ 673400 w 9144000"/>
                <a:gd name="connsiteY47" fmla="*/ 3774331 h 6083134"/>
                <a:gd name="connsiteX48" fmla="*/ 641892 w 9144000"/>
                <a:gd name="connsiteY48" fmla="*/ 3315072 h 6083134"/>
                <a:gd name="connsiteX49" fmla="*/ 645393 w 9144000"/>
                <a:gd name="connsiteY49" fmla="*/ 3286567 h 6083134"/>
                <a:gd name="connsiteX50" fmla="*/ 648456 w 9144000"/>
                <a:gd name="connsiteY50" fmla="*/ 3269938 h 6083134"/>
                <a:gd name="connsiteX51" fmla="*/ 652395 w 9144000"/>
                <a:gd name="connsiteY51" fmla="*/ 3254894 h 6083134"/>
                <a:gd name="connsiteX52" fmla="*/ 655458 w 9144000"/>
                <a:gd name="connsiteY52" fmla="*/ 3246579 h 6083134"/>
                <a:gd name="connsiteX53" fmla="*/ 655896 w 9144000"/>
                <a:gd name="connsiteY53" fmla="*/ 3238265 h 6083134"/>
                <a:gd name="connsiteX54" fmla="*/ 655896 w 9144000"/>
                <a:gd name="connsiteY54" fmla="*/ 3235890 h 6083134"/>
                <a:gd name="connsiteX55" fmla="*/ 658959 w 9144000"/>
                <a:gd name="connsiteY55" fmla="*/ 3230347 h 6083134"/>
                <a:gd name="connsiteX56" fmla="*/ 666398 w 9144000"/>
                <a:gd name="connsiteY56" fmla="*/ 3207384 h 6083134"/>
                <a:gd name="connsiteX57" fmla="*/ 694406 w 9144000"/>
                <a:gd name="connsiteY57" fmla="*/ 3115533 h 6083134"/>
                <a:gd name="connsiteX58" fmla="*/ 778429 w 9144000"/>
                <a:gd name="connsiteY58" fmla="*/ 2925494 h 6083134"/>
                <a:gd name="connsiteX59" fmla="*/ 1062007 w 9144000"/>
                <a:gd name="connsiteY59" fmla="*/ 2548585 h 6083134"/>
                <a:gd name="connsiteX60" fmla="*/ 1506630 w 9144000"/>
                <a:gd name="connsiteY60" fmla="*/ 2222354 h 6083134"/>
                <a:gd name="connsiteX61" fmla="*/ 2031774 w 9144000"/>
                <a:gd name="connsiteY61" fmla="*/ 2016479 h 6083134"/>
                <a:gd name="connsiteX62" fmla="*/ 2532412 w 9144000"/>
                <a:gd name="connsiteY62" fmla="*/ 1905623 h 6083134"/>
                <a:gd name="connsiteX63" fmla="*/ 2984036 w 9144000"/>
                <a:gd name="connsiteY63" fmla="*/ 1851779 h 6083134"/>
                <a:gd name="connsiteX64" fmla="*/ 3386647 w 9144000"/>
                <a:gd name="connsiteY64" fmla="*/ 1816939 h 6083134"/>
                <a:gd name="connsiteX65" fmla="*/ 3726241 w 9144000"/>
                <a:gd name="connsiteY65" fmla="*/ 1782099 h 6083134"/>
                <a:gd name="connsiteX66" fmla="*/ 3967807 w 9144000"/>
                <a:gd name="connsiteY66" fmla="*/ 1740924 h 6083134"/>
                <a:gd name="connsiteX67" fmla="*/ 4030824 w 9144000"/>
                <a:gd name="connsiteY67" fmla="*/ 1725087 h 6083134"/>
                <a:gd name="connsiteX68" fmla="*/ 4072836 w 9144000"/>
                <a:gd name="connsiteY68" fmla="*/ 1709251 h 6083134"/>
                <a:gd name="connsiteX69" fmla="*/ 4111347 w 9144000"/>
                <a:gd name="connsiteY69" fmla="*/ 1680745 h 6083134"/>
                <a:gd name="connsiteX70" fmla="*/ 4142855 w 9144000"/>
                <a:gd name="connsiteY70" fmla="*/ 1623734 h 6083134"/>
                <a:gd name="connsiteX71" fmla="*/ 4139354 w 9144000"/>
                <a:gd name="connsiteY71" fmla="*/ 1452700 h 6083134"/>
                <a:gd name="connsiteX72" fmla="*/ 4072836 w 9144000"/>
                <a:gd name="connsiteY72" fmla="*/ 1392521 h 6083134"/>
                <a:gd name="connsiteX73" fmla="*/ 3852275 w 9144000"/>
                <a:gd name="connsiteY73" fmla="*/ 1259494 h 6083134"/>
                <a:gd name="connsiteX74" fmla="*/ 3558194 w 9144000"/>
                <a:gd name="connsiteY74" fmla="*/ 1132802 h 6083134"/>
                <a:gd name="connsiteX75" fmla="*/ 3232605 w 9144000"/>
                <a:gd name="connsiteY75" fmla="*/ 1018779 h 6083134"/>
                <a:gd name="connsiteX76" fmla="*/ 2528911 w 9144000"/>
                <a:gd name="connsiteY76" fmla="*/ 825574 h 6083134"/>
                <a:gd name="connsiteX77" fmla="*/ 1030499 w 9144000"/>
                <a:gd name="connsiteY77" fmla="*/ 515179 h 6083134"/>
                <a:gd name="connsiteX78" fmla="*/ 0 w 9144000"/>
                <a:gd name="connsiteY78" fmla="*/ 348488 h 6083134"/>
                <a:gd name="connsiteX79" fmla="*/ 0 w 9144000"/>
                <a:gd name="connsiteY79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63921 w 9144000"/>
                <a:gd name="connsiteY29" fmla="*/ 3470270 h 6083134"/>
                <a:gd name="connsiteX30" fmla="*/ 2640942 w 9144000"/>
                <a:gd name="connsiteY30" fmla="*/ 3558954 h 6083134"/>
                <a:gd name="connsiteX31" fmla="*/ 2977035 w 9144000"/>
                <a:gd name="connsiteY31" fmla="*/ 3787000 h 6083134"/>
                <a:gd name="connsiteX32" fmla="*/ 3491676 w 9144000"/>
                <a:gd name="connsiteY32" fmla="*/ 4018213 h 6083134"/>
                <a:gd name="connsiteX33" fmla="*/ 4104345 w 9144000"/>
                <a:gd name="connsiteY33" fmla="*/ 4230422 h 6083134"/>
                <a:gd name="connsiteX34" fmla="*/ 4769528 w 9144000"/>
                <a:gd name="connsiteY34" fmla="*/ 4414126 h 6083134"/>
                <a:gd name="connsiteX35" fmla="*/ 6183917 w 9144000"/>
                <a:gd name="connsiteY35" fmla="*/ 4727688 h 6083134"/>
                <a:gd name="connsiteX36" fmla="*/ 7661324 w 9144000"/>
                <a:gd name="connsiteY36" fmla="*/ 4977905 h 6083134"/>
                <a:gd name="connsiteX37" fmla="*/ 9144000 w 9144000"/>
                <a:gd name="connsiteY37" fmla="*/ 5180860 h 6083134"/>
                <a:gd name="connsiteX38" fmla="*/ 9144000 w 9144000"/>
                <a:gd name="connsiteY38" fmla="*/ 6083134 h 6083134"/>
                <a:gd name="connsiteX39" fmla="*/ 4375201 w 9144000"/>
                <a:gd name="connsiteY39" fmla="*/ 6083134 h 6083134"/>
                <a:gd name="connsiteX40" fmla="*/ 3764751 w 9144000"/>
                <a:gd name="connsiteY40" fmla="*/ 5874251 h 6083134"/>
                <a:gd name="connsiteX41" fmla="*/ 3001541 w 9144000"/>
                <a:gd name="connsiteY41" fmla="*/ 5582860 h 6083134"/>
                <a:gd name="connsiteX42" fmla="*/ 2252335 w 9144000"/>
                <a:gd name="connsiteY42" fmla="*/ 5234456 h 6083134"/>
                <a:gd name="connsiteX43" fmla="*/ 1524135 w 9144000"/>
                <a:gd name="connsiteY43" fmla="*/ 4797369 h 6083134"/>
                <a:gd name="connsiteX44" fmla="*/ 1181040 w 9144000"/>
                <a:gd name="connsiteY44" fmla="*/ 4521814 h 6083134"/>
                <a:gd name="connsiteX45" fmla="*/ 879957 w 9144000"/>
                <a:gd name="connsiteY45" fmla="*/ 4186080 h 6083134"/>
                <a:gd name="connsiteX46" fmla="*/ 673400 w 9144000"/>
                <a:gd name="connsiteY46" fmla="*/ 3774331 h 6083134"/>
                <a:gd name="connsiteX47" fmla="*/ 641892 w 9144000"/>
                <a:gd name="connsiteY47" fmla="*/ 3315072 h 6083134"/>
                <a:gd name="connsiteX48" fmla="*/ 645393 w 9144000"/>
                <a:gd name="connsiteY48" fmla="*/ 3286567 h 6083134"/>
                <a:gd name="connsiteX49" fmla="*/ 648456 w 9144000"/>
                <a:gd name="connsiteY49" fmla="*/ 3269938 h 6083134"/>
                <a:gd name="connsiteX50" fmla="*/ 652395 w 9144000"/>
                <a:gd name="connsiteY50" fmla="*/ 3254894 h 6083134"/>
                <a:gd name="connsiteX51" fmla="*/ 655458 w 9144000"/>
                <a:gd name="connsiteY51" fmla="*/ 3246579 h 6083134"/>
                <a:gd name="connsiteX52" fmla="*/ 655896 w 9144000"/>
                <a:gd name="connsiteY52" fmla="*/ 3238265 h 6083134"/>
                <a:gd name="connsiteX53" fmla="*/ 655896 w 9144000"/>
                <a:gd name="connsiteY53" fmla="*/ 3235890 h 6083134"/>
                <a:gd name="connsiteX54" fmla="*/ 658959 w 9144000"/>
                <a:gd name="connsiteY54" fmla="*/ 3230347 h 6083134"/>
                <a:gd name="connsiteX55" fmla="*/ 666398 w 9144000"/>
                <a:gd name="connsiteY55" fmla="*/ 3207384 h 6083134"/>
                <a:gd name="connsiteX56" fmla="*/ 694406 w 9144000"/>
                <a:gd name="connsiteY56" fmla="*/ 3115533 h 6083134"/>
                <a:gd name="connsiteX57" fmla="*/ 778429 w 9144000"/>
                <a:gd name="connsiteY57" fmla="*/ 2925494 h 6083134"/>
                <a:gd name="connsiteX58" fmla="*/ 1062007 w 9144000"/>
                <a:gd name="connsiteY58" fmla="*/ 2548585 h 6083134"/>
                <a:gd name="connsiteX59" fmla="*/ 1506630 w 9144000"/>
                <a:gd name="connsiteY59" fmla="*/ 2222354 h 6083134"/>
                <a:gd name="connsiteX60" fmla="*/ 2031774 w 9144000"/>
                <a:gd name="connsiteY60" fmla="*/ 2016479 h 6083134"/>
                <a:gd name="connsiteX61" fmla="*/ 2532412 w 9144000"/>
                <a:gd name="connsiteY61" fmla="*/ 1905623 h 6083134"/>
                <a:gd name="connsiteX62" fmla="*/ 2984036 w 9144000"/>
                <a:gd name="connsiteY62" fmla="*/ 1851779 h 6083134"/>
                <a:gd name="connsiteX63" fmla="*/ 3386647 w 9144000"/>
                <a:gd name="connsiteY63" fmla="*/ 1816939 h 6083134"/>
                <a:gd name="connsiteX64" fmla="*/ 3726241 w 9144000"/>
                <a:gd name="connsiteY64" fmla="*/ 1782099 h 6083134"/>
                <a:gd name="connsiteX65" fmla="*/ 3967807 w 9144000"/>
                <a:gd name="connsiteY65" fmla="*/ 1740924 h 6083134"/>
                <a:gd name="connsiteX66" fmla="*/ 4030824 w 9144000"/>
                <a:gd name="connsiteY66" fmla="*/ 1725087 h 6083134"/>
                <a:gd name="connsiteX67" fmla="*/ 4072836 w 9144000"/>
                <a:gd name="connsiteY67" fmla="*/ 1709251 h 6083134"/>
                <a:gd name="connsiteX68" fmla="*/ 4111347 w 9144000"/>
                <a:gd name="connsiteY68" fmla="*/ 1680745 h 6083134"/>
                <a:gd name="connsiteX69" fmla="*/ 4142855 w 9144000"/>
                <a:gd name="connsiteY69" fmla="*/ 1623734 h 6083134"/>
                <a:gd name="connsiteX70" fmla="*/ 4139354 w 9144000"/>
                <a:gd name="connsiteY70" fmla="*/ 1452700 h 6083134"/>
                <a:gd name="connsiteX71" fmla="*/ 4072836 w 9144000"/>
                <a:gd name="connsiteY71" fmla="*/ 1392521 h 6083134"/>
                <a:gd name="connsiteX72" fmla="*/ 3852275 w 9144000"/>
                <a:gd name="connsiteY72" fmla="*/ 1259494 h 6083134"/>
                <a:gd name="connsiteX73" fmla="*/ 3558194 w 9144000"/>
                <a:gd name="connsiteY73" fmla="*/ 1132802 h 6083134"/>
                <a:gd name="connsiteX74" fmla="*/ 3232605 w 9144000"/>
                <a:gd name="connsiteY74" fmla="*/ 1018779 h 6083134"/>
                <a:gd name="connsiteX75" fmla="*/ 2528911 w 9144000"/>
                <a:gd name="connsiteY75" fmla="*/ 825574 h 6083134"/>
                <a:gd name="connsiteX76" fmla="*/ 1030499 w 9144000"/>
                <a:gd name="connsiteY76" fmla="*/ 515179 h 6083134"/>
                <a:gd name="connsiteX77" fmla="*/ 0 w 9144000"/>
                <a:gd name="connsiteY77" fmla="*/ 348488 h 6083134"/>
                <a:gd name="connsiteX78" fmla="*/ 0 w 9144000"/>
                <a:gd name="connsiteY78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63921 w 9144000"/>
                <a:gd name="connsiteY29" fmla="*/ 3470270 h 6083134"/>
                <a:gd name="connsiteX30" fmla="*/ 2640942 w 9144000"/>
                <a:gd name="connsiteY30" fmla="*/ 3558954 h 6083134"/>
                <a:gd name="connsiteX31" fmla="*/ 2977035 w 9144000"/>
                <a:gd name="connsiteY31" fmla="*/ 3787000 h 6083134"/>
                <a:gd name="connsiteX32" fmla="*/ 3491676 w 9144000"/>
                <a:gd name="connsiteY32" fmla="*/ 4018213 h 6083134"/>
                <a:gd name="connsiteX33" fmla="*/ 4104345 w 9144000"/>
                <a:gd name="connsiteY33" fmla="*/ 4230422 h 6083134"/>
                <a:gd name="connsiteX34" fmla="*/ 4769528 w 9144000"/>
                <a:gd name="connsiteY34" fmla="*/ 4414126 h 6083134"/>
                <a:gd name="connsiteX35" fmla="*/ 6183917 w 9144000"/>
                <a:gd name="connsiteY35" fmla="*/ 4727688 h 6083134"/>
                <a:gd name="connsiteX36" fmla="*/ 7661324 w 9144000"/>
                <a:gd name="connsiteY36" fmla="*/ 4977905 h 6083134"/>
                <a:gd name="connsiteX37" fmla="*/ 9144000 w 9144000"/>
                <a:gd name="connsiteY37" fmla="*/ 5180860 h 6083134"/>
                <a:gd name="connsiteX38" fmla="*/ 9144000 w 9144000"/>
                <a:gd name="connsiteY38" fmla="*/ 6083134 h 6083134"/>
                <a:gd name="connsiteX39" fmla="*/ 4375201 w 9144000"/>
                <a:gd name="connsiteY39" fmla="*/ 6083134 h 6083134"/>
                <a:gd name="connsiteX40" fmla="*/ 3764751 w 9144000"/>
                <a:gd name="connsiteY40" fmla="*/ 5874251 h 6083134"/>
                <a:gd name="connsiteX41" fmla="*/ 3001541 w 9144000"/>
                <a:gd name="connsiteY41" fmla="*/ 5582860 h 6083134"/>
                <a:gd name="connsiteX42" fmla="*/ 2252335 w 9144000"/>
                <a:gd name="connsiteY42" fmla="*/ 5234456 h 6083134"/>
                <a:gd name="connsiteX43" fmla="*/ 1524135 w 9144000"/>
                <a:gd name="connsiteY43" fmla="*/ 4797369 h 6083134"/>
                <a:gd name="connsiteX44" fmla="*/ 1181040 w 9144000"/>
                <a:gd name="connsiteY44" fmla="*/ 4521814 h 6083134"/>
                <a:gd name="connsiteX45" fmla="*/ 879957 w 9144000"/>
                <a:gd name="connsiteY45" fmla="*/ 4186080 h 6083134"/>
                <a:gd name="connsiteX46" fmla="*/ 673400 w 9144000"/>
                <a:gd name="connsiteY46" fmla="*/ 3774331 h 6083134"/>
                <a:gd name="connsiteX47" fmla="*/ 641892 w 9144000"/>
                <a:gd name="connsiteY47" fmla="*/ 3315072 h 6083134"/>
                <a:gd name="connsiteX48" fmla="*/ 645393 w 9144000"/>
                <a:gd name="connsiteY48" fmla="*/ 3286567 h 6083134"/>
                <a:gd name="connsiteX49" fmla="*/ 648456 w 9144000"/>
                <a:gd name="connsiteY49" fmla="*/ 3269938 h 6083134"/>
                <a:gd name="connsiteX50" fmla="*/ 652395 w 9144000"/>
                <a:gd name="connsiteY50" fmla="*/ 3254894 h 6083134"/>
                <a:gd name="connsiteX51" fmla="*/ 655458 w 9144000"/>
                <a:gd name="connsiteY51" fmla="*/ 3246579 h 6083134"/>
                <a:gd name="connsiteX52" fmla="*/ 655896 w 9144000"/>
                <a:gd name="connsiteY52" fmla="*/ 3238265 h 6083134"/>
                <a:gd name="connsiteX53" fmla="*/ 655896 w 9144000"/>
                <a:gd name="connsiteY53" fmla="*/ 3235890 h 6083134"/>
                <a:gd name="connsiteX54" fmla="*/ 658959 w 9144000"/>
                <a:gd name="connsiteY54" fmla="*/ 3230347 h 6083134"/>
                <a:gd name="connsiteX55" fmla="*/ 666398 w 9144000"/>
                <a:gd name="connsiteY55" fmla="*/ 3207384 h 6083134"/>
                <a:gd name="connsiteX56" fmla="*/ 694406 w 9144000"/>
                <a:gd name="connsiteY56" fmla="*/ 3115533 h 6083134"/>
                <a:gd name="connsiteX57" fmla="*/ 778429 w 9144000"/>
                <a:gd name="connsiteY57" fmla="*/ 2925494 h 6083134"/>
                <a:gd name="connsiteX58" fmla="*/ 1062007 w 9144000"/>
                <a:gd name="connsiteY58" fmla="*/ 2548585 h 6083134"/>
                <a:gd name="connsiteX59" fmla="*/ 1506630 w 9144000"/>
                <a:gd name="connsiteY59" fmla="*/ 2222354 h 6083134"/>
                <a:gd name="connsiteX60" fmla="*/ 2031774 w 9144000"/>
                <a:gd name="connsiteY60" fmla="*/ 2016479 h 6083134"/>
                <a:gd name="connsiteX61" fmla="*/ 2532412 w 9144000"/>
                <a:gd name="connsiteY61" fmla="*/ 1905623 h 6083134"/>
                <a:gd name="connsiteX62" fmla="*/ 2984036 w 9144000"/>
                <a:gd name="connsiteY62" fmla="*/ 1851779 h 6083134"/>
                <a:gd name="connsiteX63" fmla="*/ 3386647 w 9144000"/>
                <a:gd name="connsiteY63" fmla="*/ 1816939 h 6083134"/>
                <a:gd name="connsiteX64" fmla="*/ 3726241 w 9144000"/>
                <a:gd name="connsiteY64" fmla="*/ 1782099 h 6083134"/>
                <a:gd name="connsiteX65" fmla="*/ 3967807 w 9144000"/>
                <a:gd name="connsiteY65" fmla="*/ 1740924 h 6083134"/>
                <a:gd name="connsiteX66" fmla="*/ 4030824 w 9144000"/>
                <a:gd name="connsiteY66" fmla="*/ 1725087 h 6083134"/>
                <a:gd name="connsiteX67" fmla="*/ 4072836 w 9144000"/>
                <a:gd name="connsiteY67" fmla="*/ 1709251 h 6083134"/>
                <a:gd name="connsiteX68" fmla="*/ 4111347 w 9144000"/>
                <a:gd name="connsiteY68" fmla="*/ 1680745 h 6083134"/>
                <a:gd name="connsiteX69" fmla="*/ 4142855 w 9144000"/>
                <a:gd name="connsiteY69" fmla="*/ 1623734 h 6083134"/>
                <a:gd name="connsiteX70" fmla="*/ 4139354 w 9144000"/>
                <a:gd name="connsiteY70" fmla="*/ 1452700 h 6083134"/>
                <a:gd name="connsiteX71" fmla="*/ 4072836 w 9144000"/>
                <a:gd name="connsiteY71" fmla="*/ 1392521 h 6083134"/>
                <a:gd name="connsiteX72" fmla="*/ 3852275 w 9144000"/>
                <a:gd name="connsiteY72" fmla="*/ 1259494 h 6083134"/>
                <a:gd name="connsiteX73" fmla="*/ 3558194 w 9144000"/>
                <a:gd name="connsiteY73" fmla="*/ 1132802 h 6083134"/>
                <a:gd name="connsiteX74" fmla="*/ 3232605 w 9144000"/>
                <a:gd name="connsiteY74" fmla="*/ 1018779 h 6083134"/>
                <a:gd name="connsiteX75" fmla="*/ 2528911 w 9144000"/>
                <a:gd name="connsiteY75" fmla="*/ 825574 h 6083134"/>
                <a:gd name="connsiteX76" fmla="*/ 1030499 w 9144000"/>
                <a:gd name="connsiteY76" fmla="*/ 515179 h 6083134"/>
                <a:gd name="connsiteX77" fmla="*/ 0 w 9144000"/>
                <a:gd name="connsiteY77" fmla="*/ 348488 h 6083134"/>
                <a:gd name="connsiteX78" fmla="*/ 0 w 9144000"/>
                <a:gd name="connsiteY78" fmla="*/ 0 h 6083134"/>
                <a:gd name="connsiteX0" fmla="*/ 0 w 9144000"/>
                <a:gd name="connsiteY0" fmla="*/ 0 h 6083134"/>
                <a:gd name="connsiteX1" fmla="*/ 1160034 w 9144000"/>
                <a:gd name="connsiteY1" fmla="*/ 109764 h 6083134"/>
                <a:gd name="connsiteX2" fmla="*/ 2756474 w 9144000"/>
                <a:gd name="connsiteY2" fmla="*/ 328308 h 6083134"/>
                <a:gd name="connsiteX3" fmla="*/ 3554693 w 9144000"/>
                <a:gd name="connsiteY3" fmla="*/ 489840 h 6083134"/>
                <a:gd name="connsiteX4" fmla="*/ 3957304 w 9144000"/>
                <a:gd name="connsiteY4" fmla="*/ 597528 h 6083134"/>
                <a:gd name="connsiteX5" fmla="*/ 4359915 w 9144000"/>
                <a:gd name="connsiteY5" fmla="*/ 733722 h 6083134"/>
                <a:gd name="connsiteX6" fmla="*/ 4762526 w 9144000"/>
                <a:gd name="connsiteY6" fmla="*/ 933262 h 6083134"/>
                <a:gd name="connsiteX7" fmla="*/ 4951578 w 9144000"/>
                <a:gd name="connsiteY7" fmla="*/ 1075791 h 6083134"/>
                <a:gd name="connsiteX8" fmla="*/ 5112622 w 9144000"/>
                <a:gd name="connsiteY8" fmla="*/ 1268996 h 6083134"/>
                <a:gd name="connsiteX9" fmla="*/ 5165137 w 9144000"/>
                <a:gd name="connsiteY9" fmla="*/ 1383019 h 6083134"/>
                <a:gd name="connsiteX10" fmla="*/ 5182642 w 9144000"/>
                <a:gd name="connsiteY10" fmla="*/ 1446365 h 6083134"/>
                <a:gd name="connsiteX11" fmla="*/ 5182642 w 9144000"/>
                <a:gd name="connsiteY11" fmla="*/ 1452700 h 6083134"/>
                <a:gd name="connsiteX12" fmla="*/ 5185705 w 9144000"/>
                <a:gd name="connsiteY12" fmla="*/ 1464181 h 6083134"/>
                <a:gd name="connsiteX13" fmla="*/ 5189643 w 9144000"/>
                <a:gd name="connsiteY13" fmla="*/ 1490707 h 6083134"/>
                <a:gd name="connsiteX14" fmla="*/ 5210649 w 9144000"/>
                <a:gd name="connsiteY14" fmla="*/ 1671243 h 6083134"/>
                <a:gd name="connsiteX15" fmla="*/ 5179141 w 9144000"/>
                <a:gd name="connsiteY15" fmla="*/ 1877118 h 6083134"/>
                <a:gd name="connsiteX16" fmla="*/ 5063609 w 9144000"/>
                <a:gd name="connsiteY16" fmla="*/ 2095662 h 6083134"/>
                <a:gd name="connsiteX17" fmla="*/ 4860553 w 9144000"/>
                <a:gd name="connsiteY17" fmla="*/ 2292034 h 6083134"/>
                <a:gd name="connsiteX18" fmla="*/ 4608483 w 9144000"/>
                <a:gd name="connsiteY18" fmla="*/ 2437730 h 6083134"/>
                <a:gd name="connsiteX19" fmla="*/ 4356414 w 9144000"/>
                <a:gd name="connsiteY19" fmla="*/ 2539084 h 6083134"/>
                <a:gd name="connsiteX20" fmla="*/ 4118349 w 9144000"/>
                <a:gd name="connsiteY20" fmla="*/ 2611932 h 6083134"/>
                <a:gd name="connsiteX21" fmla="*/ 3687730 w 9144000"/>
                <a:gd name="connsiteY21" fmla="*/ 2713285 h 6083134"/>
                <a:gd name="connsiteX22" fmla="*/ 3313127 w 9144000"/>
                <a:gd name="connsiteY22" fmla="*/ 2795635 h 6083134"/>
                <a:gd name="connsiteX23" fmla="*/ 2994539 w 9144000"/>
                <a:gd name="connsiteY23" fmla="*/ 2877985 h 6083134"/>
                <a:gd name="connsiteX24" fmla="*/ 2756474 w 9144000"/>
                <a:gd name="connsiteY24" fmla="*/ 2969836 h 6083134"/>
                <a:gd name="connsiteX25" fmla="*/ 2619936 w 9144000"/>
                <a:gd name="connsiteY25" fmla="*/ 3061688 h 6083134"/>
                <a:gd name="connsiteX26" fmla="*/ 2560420 w 9144000"/>
                <a:gd name="connsiteY26" fmla="*/ 3147205 h 6083134"/>
                <a:gd name="connsiteX27" fmla="*/ 2528911 w 9144000"/>
                <a:gd name="connsiteY27" fmla="*/ 3261228 h 6083134"/>
                <a:gd name="connsiteX28" fmla="*/ 2525410 w 9144000"/>
                <a:gd name="connsiteY28" fmla="*/ 3330909 h 6083134"/>
                <a:gd name="connsiteX29" fmla="*/ 2563921 w 9144000"/>
                <a:gd name="connsiteY29" fmla="*/ 3470270 h 6083134"/>
                <a:gd name="connsiteX30" fmla="*/ 2640942 w 9144000"/>
                <a:gd name="connsiteY30" fmla="*/ 3558954 h 6083134"/>
                <a:gd name="connsiteX31" fmla="*/ 2977035 w 9144000"/>
                <a:gd name="connsiteY31" fmla="*/ 3787000 h 6083134"/>
                <a:gd name="connsiteX32" fmla="*/ 3491676 w 9144000"/>
                <a:gd name="connsiteY32" fmla="*/ 4018213 h 6083134"/>
                <a:gd name="connsiteX33" fmla="*/ 4104345 w 9144000"/>
                <a:gd name="connsiteY33" fmla="*/ 4230422 h 6083134"/>
                <a:gd name="connsiteX34" fmla="*/ 4769528 w 9144000"/>
                <a:gd name="connsiteY34" fmla="*/ 4414126 h 6083134"/>
                <a:gd name="connsiteX35" fmla="*/ 6183917 w 9144000"/>
                <a:gd name="connsiteY35" fmla="*/ 4727688 h 6083134"/>
                <a:gd name="connsiteX36" fmla="*/ 7661324 w 9144000"/>
                <a:gd name="connsiteY36" fmla="*/ 4977905 h 6083134"/>
                <a:gd name="connsiteX37" fmla="*/ 9144000 w 9144000"/>
                <a:gd name="connsiteY37" fmla="*/ 5180860 h 6083134"/>
                <a:gd name="connsiteX38" fmla="*/ 9144000 w 9144000"/>
                <a:gd name="connsiteY38" fmla="*/ 6083134 h 6083134"/>
                <a:gd name="connsiteX39" fmla="*/ 4375201 w 9144000"/>
                <a:gd name="connsiteY39" fmla="*/ 6083134 h 6083134"/>
                <a:gd name="connsiteX40" fmla="*/ 3764751 w 9144000"/>
                <a:gd name="connsiteY40" fmla="*/ 5874251 h 6083134"/>
                <a:gd name="connsiteX41" fmla="*/ 3001541 w 9144000"/>
                <a:gd name="connsiteY41" fmla="*/ 5582860 h 6083134"/>
                <a:gd name="connsiteX42" fmla="*/ 2252335 w 9144000"/>
                <a:gd name="connsiteY42" fmla="*/ 5234456 h 6083134"/>
                <a:gd name="connsiteX43" fmla="*/ 1524135 w 9144000"/>
                <a:gd name="connsiteY43" fmla="*/ 4797369 h 6083134"/>
                <a:gd name="connsiteX44" fmla="*/ 1181040 w 9144000"/>
                <a:gd name="connsiteY44" fmla="*/ 4521814 h 6083134"/>
                <a:gd name="connsiteX45" fmla="*/ 879957 w 9144000"/>
                <a:gd name="connsiteY45" fmla="*/ 4186080 h 6083134"/>
                <a:gd name="connsiteX46" fmla="*/ 673400 w 9144000"/>
                <a:gd name="connsiteY46" fmla="*/ 3774331 h 6083134"/>
                <a:gd name="connsiteX47" fmla="*/ 641892 w 9144000"/>
                <a:gd name="connsiteY47" fmla="*/ 3315072 h 6083134"/>
                <a:gd name="connsiteX48" fmla="*/ 645393 w 9144000"/>
                <a:gd name="connsiteY48" fmla="*/ 3286567 h 6083134"/>
                <a:gd name="connsiteX49" fmla="*/ 648456 w 9144000"/>
                <a:gd name="connsiteY49" fmla="*/ 3269938 h 6083134"/>
                <a:gd name="connsiteX50" fmla="*/ 652395 w 9144000"/>
                <a:gd name="connsiteY50" fmla="*/ 3254894 h 6083134"/>
                <a:gd name="connsiteX51" fmla="*/ 655458 w 9144000"/>
                <a:gd name="connsiteY51" fmla="*/ 3246579 h 6083134"/>
                <a:gd name="connsiteX52" fmla="*/ 655896 w 9144000"/>
                <a:gd name="connsiteY52" fmla="*/ 3238265 h 6083134"/>
                <a:gd name="connsiteX53" fmla="*/ 655896 w 9144000"/>
                <a:gd name="connsiteY53" fmla="*/ 3235890 h 6083134"/>
                <a:gd name="connsiteX54" fmla="*/ 658959 w 9144000"/>
                <a:gd name="connsiteY54" fmla="*/ 3230347 h 6083134"/>
                <a:gd name="connsiteX55" fmla="*/ 666398 w 9144000"/>
                <a:gd name="connsiteY55" fmla="*/ 3207384 h 6083134"/>
                <a:gd name="connsiteX56" fmla="*/ 694406 w 9144000"/>
                <a:gd name="connsiteY56" fmla="*/ 3115533 h 6083134"/>
                <a:gd name="connsiteX57" fmla="*/ 778429 w 9144000"/>
                <a:gd name="connsiteY57" fmla="*/ 2925494 h 6083134"/>
                <a:gd name="connsiteX58" fmla="*/ 1062007 w 9144000"/>
                <a:gd name="connsiteY58" fmla="*/ 2548585 h 6083134"/>
                <a:gd name="connsiteX59" fmla="*/ 1506630 w 9144000"/>
                <a:gd name="connsiteY59" fmla="*/ 2222354 h 6083134"/>
                <a:gd name="connsiteX60" fmla="*/ 2031774 w 9144000"/>
                <a:gd name="connsiteY60" fmla="*/ 2016479 h 6083134"/>
                <a:gd name="connsiteX61" fmla="*/ 2532412 w 9144000"/>
                <a:gd name="connsiteY61" fmla="*/ 1905623 h 6083134"/>
                <a:gd name="connsiteX62" fmla="*/ 2984036 w 9144000"/>
                <a:gd name="connsiteY62" fmla="*/ 1851779 h 6083134"/>
                <a:gd name="connsiteX63" fmla="*/ 3386647 w 9144000"/>
                <a:gd name="connsiteY63" fmla="*/ 1816939 h 6083134"/>
                <a:gd name="connsiteX64" fmla="*/ 3726241 w 9144000"/>
                <a:gd name="connsiteY64" fmla="*/ 1782099 h 6083134"/>
                <a:gd name="connsiteX65" fmla="*/ 3967807 w 9144000"/>
                <a:gd name="connsiteY65" fmla="*/ 1740924 h 6083134"/>
                <a:gd name="connsiteX66" fmla="*/ 4030824 w 9144000"/>
                <a:gd name="connsiteY66" fmla="*/ 1725087 h 6083134"/>
                <a:gd name="connsiteX67" fmla="*/ 4072836 w 9144000"/>
                <a:gd name="connsiteY67" fmla="*/ 1709251 h 6083134"/>
                <a:gd name="connsiteX68" fmla="*/ 4111347 w 9144000"/>
                <a:gd name="connsiteY68" fmla="*/ 1680745 h 6083134"/>
                <a:gd name="connsiteX69" fmla="*/ 4142855 w 9144000"/>
                <a:gd name="connsiteY69" fmla="*/ 1623734 h 6083134"/>
                <a:gd name="connsiteX70" fmla="*/ 4139354 w 9144000"/>
                <a:gd name="connsiteY70" fmla="*/ 1452700 h 6083134"/>
                <a:gd name="connsiteX71" fmla="*/ 4072836 w 9144000"/>
                <a:gd name="connsiteY71" fmla="*/ 1392521 h 6083134"/>
                <a:gd name="connsiteX72" fmla="*/ 3852275 w 9144000"/>
                <a:gd name="connsiteY72" fmla="*/ 1259494 h 6083134"/>
                <a:gd name="connsiteX73" fmla="*/ 3558194 w 9144000"/>
                <a:gd name="connsiteY73" fmla="*/ 1132802 h 6083134"/>
                <a:gd name="connsiteX74" fmla="*/ 3232605 w 9144000"/>
                <a:gd name="connsiteY74" fmla="*/ 1018779 h 6083134"/>
                <a:gd name="connsiteX75" fmla="*/ 2528911 w 9144000"/>
                <a:gd name="connsiteY75" fmla="*/ 825574 h 6083134"/>
                <a:gd name="connsiteX76" fmla="*/ 1030499 w 9144000"/>
                <a:gd name="connsiteY76" fmla="*/ 515179 h 6083134"/>
                <a:gd name="connsiteX77" fmla="*/ 0 w 9144000"/>
                <a:gd name="connsiteY77" fmla="*/ 348488 h 6083134"/>
                <a:gd name="connsiteX78" fmla="*/ 0 w 9144000"/>
                <a:gd name="connsiteY78" fmla="*/ 0 h 608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9144000" h="6083134">
                  <a:moveTo>
                    <a:pt x="0" y="0"/>
                  </a:moveTo>
                  <a:cubicBezTo>
                    <a:pt x="386744" y="30675"/>
                    <a:pt x="773389" y="66040"/>
                    <a:pt x="1160034" y="109764"/>
                  </a:cubicBezTo>
                  <a:cubicBezTo>
                    <a:pt x="1692181" y="166775"/>
                    <a:pt x="2224327" y="236456"/>
                    <a:pt x="2756474" y="328308"/>
                  </a:cubicBezTo>
                  <a:cubicBezTo>
                    <a:pt x="3022547" y="372650"/>
                    <a:pt x="3288620" y="426494"/>
                    <a:pt x="3554693" y="489840"/>
                  </a:cubicBezTo>
                  <a:cubicBezTo>
                    <a:pt x="3691231" y="521513"/>
                    <a:pt x="3824268" y="556353"/>
                    <a:pt x="3957304" y="597528"/>
                  </a:cubicBezTo>
                  <a:cubicBezTo>
                    <a:pt x="4090341" y="635536"/>
                    <a:pt x="4226878" y="679878"/>
                    <a:pt x="4359915" y="733722"/>
                  </a:cubicBezTo>
                  <a:cubicBezTo>
                    <a:pt x="4492952" y="787566"/>
                    <a:pt x="4629489" y="850912"/>
                    <a:pt x="4762526" y="933262"/>
                  </a:cubicBezTo>
                  <a:cubicBezTo>
                    <a:pt x="4825543" y="974437"/>
                    <a:pt x="4892062" y="1021947"/>
                    <a:pt x="4951578" y="1075791"/>
                  </a:cubicBezTo>
                  <a:cubicBezTo>
                    <a:pt x="5014595" y="1129635"/>
                    <a:pt x="5070611" y="1196148"/>
                    <a:pt x="5112622" y="1268996"/>
                  </a:cubicBezTo>
                  <a:cubicBezTo>
                    <a:pt x="5133628" y="1303836"/>
                    <a:pt x="5151133" y="1345011"/>
                    <a:pt x="5165137" y="1383019"/>
                  </a:cubicBezTo>
                  <a:cubicBezTo>
                    <a:pt x="5172139" y="1405190"/>
                    <a:pt x="5175640" y="1424194"/>
                    <a:pt x="5182642" y="1446365"/>
                  </a:cubicBezTo>
                  <a:lnTo>
                    <a:pt x="5182642" y="1452700"/>
                  </a:lnTo>
                  <a:lnTo>
                    <a:pt x="5185705" y="1464181"/>
                  </a:lnTo>
                  <a:lnTo>
                    <a:pt x="5189643" y="1490707"/>
                  </a:lnTo>
                  <a:cubicBezTo>
                    <a:pt x="5203647" y="1547719"/>
                    <a:pt x="5210649" y="1607897"/>
                    <a:pt x="5210649" y="1671243"/>
                  </a:cubicBezTo>
                  <a:cubicBezTo>
                    <a:pt x="5210649" y="1737757"/>
                    <a:pt x="5200146" y="1807437"/>
                    <a:pt x="5179141" y="1877118"/>
                  </a:cubicBezTo>
                  <a:cubicBezTo>
                    <a:pt x="5154634" y="1949966"/>
                    <a:pt x="5119624" y="2025981"/>
                    <a:pt x="5063609" y="2095662"/>
                  </a:cubicBezTo>
                  <a:cubicBezTo>
                    <a:pt x="5011094" y="2168509"/>
                    <a:pt x="4937574" y="2235023"/>
                    <a:pt x="4860553" y="2292034"/>
                  </a:cubicBezTo>
                  <a:cubicBezTo>
                    <a:pt x="4780031" y="2349046"/>
                    <a:pt x="4696008" y="2396555"/>
                    <a:pt x="4608483" y="2437730"/>
                  </a:cubicBezTo>
                  <a:cubicBezTo>
                    <a:pt x="4524460" y="2478905"/>
                    <a:pt x="4440437" y="2510578"/>
                    <a:pt x="4356414" y="2539084"/>
                  </a:cubicBezTo>
                  <a:cubicBezTo>
                    <a:pt x="4275892" y="2567589"/>
                    <a:pt x="4195370" y="2589760"/>
                    <a:pt x="4118349" y="2611932"/>
                  </a:cubicBezTo>
                  <a:cubicBezTo>
                    <a:pt x="3967807" y="2653106"/>
                    <a:pt x="3824268" y="2684779"/>
                    <a:pt x="3687730" y="2713285"/>
                  </a:cubicBezTo>
                  <a:cubicBezTo>
                    <a:pt x="3554693" y="2741791"/>
                    <a:pt x="3428659" y="2767129"/>
                    <a:pt x="3313127" y="2795635"/>
                  </a:cubicBezTo>
                  <a:cubicBezTo>
                    <a:pt x="3194094" y="2820973"/>
                    <a:pt x="3089065" y="2849479"/>
                    <a:pt x="2994539" y="2877985"/>
                  </a:cubicBezTo>
                  <a:cubicBezTo>
                    <a:pt x="2900013" y="2906490"/>
                    <a:pt x="2819491" y="2938163"/>
                    <a:pt x="2756474" y="2969836"/>
                  </a:cubicBezTo>
                  <a:cubicBezTo>
                    <a:pt x="2693456" y="3001509"/>
                    <a:pt x="2647944" y="3030015"/>
                    <a:pt x="2619936" y="3061688"/>
                  </a:cubicBezTo>
                  <a:cubicBezTo>
                    <a:pt x="2588428" y="3090194"/>
                    <a:pt x="2574424" y="3115532"/>
                    <a:pt x="2560420" y="3147205"/>
                  </a:cubicBezTo>
                  <a:cubicBezTo>
                    <a:pt x="2546416" y="3178878"/>
                    <a:pt x="2535913" y="3216886"/>
                    <a:pt x="2528911" y="3261228"/>
                  </a:cubicBezTo>
                  <a:cubicBezTo>
                    <a:pt x="2528911" y="3283399"/>
                    <a:pt x="2525908" y="3295885"/>
                    <a:pt x="2525410" y="3330909"/>
                  </a:cubicBezTo>
                  <a:cubicBezTo>
                    <a:pt x="2524912" y="3365933"/>
                    <a:pt x="2537749" y="3435246"/>
                    <a:pt x="2563921" y="3470270"/>
                  </a:cubicBezTo>
                  <a:cubicBezTo>
                    <a:pt x="2590093" y="3505294"/>
                    <a:pt x="2605932" y="3524114"/>
                    <a:pt x="2640942" y="3558954"/>
                  </a:cubicBezTo>
                  <a:cubicBezTo>
                    <a:pt x="2710961" y="3625468"/>
                    <a:pt x="2829994" y="3707817"/>
                    <a:pt x="2977035" y="3787000"/>
                  </a:cubicBezTo>
                  <a:cubicBezTo>
                    <a:pt x="3124075" y="3866183"/>
                    <a:pt x="3302624" y="3945365"/>
                    <a:pt x="3491676" y="4018213"/>
                  </a:cubicBezTo>
                  <a:cubicBezTo>
                    <a:pt x="3684229" y="4094228"/>
                    <a:pt x="3890786" y="4163909"/>
                    <a:pt x="4104345" y="4230422"/>
                  </a:cubicBezTo>
                  <a:cubicBezTo>
                    <a:pt x="4317903" y="4293768"/>
                    <a:pt x="4541965" y="4357114"/>
                    <a:pt x="4769528" y="4414126"/>
                  </a:cubicBezTo>
                  <a:cubicBezTo>
                    <a:pt x="5224653" y="4531316"/>
                    <a:pt x="5700784" y="4635837"/>
                    <a:pt x="6183917" y="4727688"/>
                  </a:cubicBezTo>
                  <a:cubicBezTo>
                    <a:pt x="6670551" y="4819540"/>
                    <a:pt x="7164187" y="4905057"/>
                    <a:pt x="7661324" y="4977905"/>
                  </a:cubicBezTo>
                  <a:cubicBezTo>
                    <a:pt x="8150979" y="5052776"/>
                    <a:pt x="8647427" y="5121502"/>
                    <a:pt x="9144000" y="5180860"/>
                  </a:cubicBezTo>
                  <a:lnTo>
                    <a:pt x="9144000" y="6083134"/>
                  </a:lnTo>
                  <a:lnTo>
                    <a:pt x="4375201" y="6083134"/>
                  </a:lnTo>
                  <a:cubicBezTo>
                    <a:pt x="4170572" y="6017183"/>
                    <a:pt x="3967105" y="5947479"/>
                    <a:pt x="3764751" y="5874251"/>
                  </a:cubicBezTo>
                  <a:cubicBezTo>
                    <a:pt x="3509181" y="5785567"/>
                    <a:pt x="3253610" y="5687380"/>
                    <a:pt x="3001541" y="5582860"/>
                  </a:cubicBezTo>
                  <a:cubicBezTo>
                    <a:pt x="2749472" y="5475171"/>
                    <a:pt x="2500903" y="5361149"/>
                    <a:pt x="2252335" y="5234456"/>
                  </a:cubicBezTo>
                  <a:cubicBezTo>
                    <a:pt x="2003767" y="5107764"/>
                    <a:pt x="1758699" y="4965236"/>
                    <a:pt x="1524135" y="4797369"/>
                  </a:cubicBezTo>
                  <a:cubicBezTo>
                    <a:pt x="1405102" y="4715019"/>
                    <a:pt x="1289570" y="4623167"/>
                    <a:pt x="1181040" y="4521814"/>
                  </a:cubicBezTo>
                  <a:cubicBezTo>
                    <a:pt x="1072510" y="4420460"/>
                    <a:pt x="970982" y="4309605"/>
                    <a:pt x="879957" y="4186080"/>
                  </a:cubicBezTo>
                  <a:cubicBezTo>
                    <a:pt x="792433" y="4059388"/>
                    <a:pt x="718913" y="3923194"/>
                    <a:pt x="673400" y="3774331"/>
                  </a:cubicBezTo>
                  <a:cubicBezTo>
                    <a:pt x="627888" y="3625468"/>
                    <a:pt x="617385" y="3467103"/>
                    <a:pt x="641892" y="3315072"/>
                  </a:cubicBezTo>
                  <a:lnTo>
                    <a:pt x="645393" y="3286567"/>
                  </a:lnTo>
                  <a:lnTo>
                    <a:pt x="648456" y="3269938"/>
                  </a:lnTo>
                  <a:cubicBezTo>
                    <a:pt x="652395" y="3264395"/>
                    <a:pt x="652395" y="3254894"/>
                    <a:pt x="652395" y="3254894"/>
                  </a:cubicBezTo>
                  <a:lnTo>
                    <a:pt x="655458" y="3246579"/>
                  </a:lnTo>
                  <a:lnTo>
                    <a:pt x="655896" y="3238265"/>
                  </a:lnTo>
                  <a:lnTo>
                    <a:pt x="655896" y="3235890"/>
                  </a:lnTo>
                  <a:lnTo>
                    <a:pt x="658959" y="3230347"/>
                  </a:lnTo>
                  <a:lnTo>
                    <a:pt x="666398" y="3207384"/>
                  </a:lnTo>
                  <a:cubicBezTo>
                    <a:pt x="673400" y="3178878"/>
                    <a:pt x="683903" y="3147205"/>
                    <a:pt x="694406" y="3115533"/>
                  </a:cubicBezTo>
                  <a:cubicBezTo>
                    <a:pt x="718913" y="3052186"/>
                    <a:pt x="746921" y="2988840"/>
                    <a:pt x="778429" y="2925494"/>
                  </a:cubicBezTo>
                  <a:cubicBezTo>
                    <a:pt x="844948" y="2798802"/>
                    <a:pt x="939474" y="2668943"/>
                    <a:pt x="1062007" y="2548585"/>
                  </a:cubicBezTo>
                  <a:cubicBezTo>
                    <a:pt x="1184541" y="2425061"/>
                    <a:pt x="1338583" y="2314205"/>
                    <a:pt x="1506630" y="2222354"/>
                  </a:cubicBezTo>
                  <a:cubicBezTo>
                    <a:pt x="1678177" y="2133669"/>
                    <a:pt x="1856726" y="2067156"/>
                    <a:pt x="2031774" y="2016479"/>
                  </a:cubicBezTo>
                  <a:cubicBezTo>
                    <a:pt x="2203322" y="1965802"/>
                    <a:pt x="2371368" y="1930962"/>
                    <a:pt x="2532412" y="1905623"/>
                  </a:cubicBezTo>
                  <a:cubicBezTo>
                    <a:pt x="2689956" y="1880285"/>
                    <a:pt x="2840497" y="1864449"/>
                    <a:pt x="2984036" y="1851779"/>
                  </a:cubicBezTo>
                  <a:cubicBezTo>
                    <a:pt x="3127576" y="1835943"/>
                    <a:pt x="3260612" y="1826441"/>
                    <a:pt x="3386647" y="1816939"/>
                  </a:cubicBezTo>
                  <a:cubicBezTo>
                    <a:pt x="3512682" y="1804270"/>
                    <a:pt x="3628214" y="1794768"/>
                    <a:pt x="3726241" y="1782099"/>
                  </a:cubicBezTo>
                  <a:cubicBezTo>
                    <a:pt x="3827769" y="1769430"/>
                    <a:pt x="3911792" y="1756760"/>
                    <a:pt x="3967807" y="1740924"/>
                  </a:cubicBezTo>
                  <a:cubicBezTo>
                    <a:pt x="3995815" y="1734589"/>
                    <a:pt x="4016821" y="1728255"/>
                    <a:pt x="4030824" y="1725087"/>
                  </a:cubicBezTo>
                  <a:cubicBezTo>
                    <a:pt x="4048329" y="1718753"/>
                    <a:pt x="4058832" y="1715586"/>
                    <a:pt x="4072836" y="1709251"/>
                  </a:cubicBezTo>
                  <a:cubicBezTo>
                    <a:pt x="4083339" y="1702916"/>
                    <a:pt x="4097343" y="1696582"/>
                    <a:pt x="4111347" y="1680745"/>
                  </a:cubicBezTo>
                  <a:cubicBezTo>
                    <a:pt x="4121849" y="1668076"/>
                    <a:pt x="4132352" y="1645905"/>
                    <a:pt x="4142855" y="1623734"/>
                  </a:cubicBezTo>
                  <a:cubicBezTo>
                    <a:pt x="4168478" y="1576202"/>
                    <a:pt x="4173884" y="1508380"/>
                    <a:pt x="4139354" y="1452700"/>
                  </a:cubicBezTo>
                  <a:cubicBezTo>
                    <a:pt x="4125350" y="1436863"/>
                    <a:pt x="4100844" y="1414692"/>
                    <a:pt x="4072836" y="1392521"/>
                  </a:cubicBezTo>
                  <a:cubicBezTo>
                    <a:pt x="4016821" y="1348179"/>
                    <a:pt x="3939799" y="1300669"/>
                    <a:pt x="3852275" y="1259494"/>
                  </a:cubicBezTo>
                  <a:cubicBezTo>
                    <a:pt x="3761250" y="1215152"/>
                    <a:pt x="3663223" y="1173977"/>
                    <a:pt x="3558194" y="1132802"/>
                  </a:cubicBezTo>
                  <a:cubicBezTo>
                    <a:pt x="3456666" y="1091627"/>
                    <a:pt x="3344636" y="1056787"/>
                    <a:pt x="3232605" y="1018779"/>
                  </a:cubicBezTo>
                  <a:cubicBezTo>
                    <a:pt x="3008543" y="949099"/>
                    <a:pt x="2770478" y="885753"/>
                    <a:pt x="2528911" y="825574"/>
                  </a:cubicBezTo>
                  <a:cubicBezTo>
                    <a:pt x="2042277" y="705217"/>
                    <a:pt x="1538138" y="607030"/>
                    <a:pt x="1030499" y="515179"/>
                  </a:cubicBezTo>
                  <a:cubicBezTo>
                    <a:pt x="689847" y="455667"/>
                    <a:pt x="346041" y="400434"/>
                    <a:pt x="0" y="34848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38100">
              <a:solidFill>
                <a:schemeClr val="tx1">
                  <a:lumMod val="85000"/>
                  <a:lumOff val="1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/>
            <p:cNvSpPr>
              <a:spLocks/>
            </p:cNvSpPr>
            <p:nvPr/>
          </p:nvSpPr>
          <p:spPr bwMode="auto">
            <a:xfrm>
              <a:off x="1" y="796010"/>
              <a:ext cx="9143999" cy="6061990"/>
            </a:xfrm>
            <a:custGeom>
              <a:avLst/>
              <a:gdLst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10075 w 9143999"/>
                <a:gd name="connsiteY29" fmla="*/ 3296717 h 6061990"/>
                <a:gd name="connsiteX30" fmla="*/ 2406574 w 9143999"/>
                <a:gd name="connsiteY30" fmla="*/ 3341054 h 6061990"/>
                <a:gd name="connsiteX31" fmla="*/ 2406574 w 9143999"/>
                <a:gd name="connsiteY31" fmla="*/ 3349367 h 6061990"/>
                <a:gd name="connsiteX32" fmla="*/ 2407012 w 9143999"/>
                <a:gd name="connsiteY32" fmla="*/ 3355701 h 6061990"/>
                <a:gd name="connsiteX33" fmla="*/ 2407011 w 9143999"/>
                <a:gd name="connsiteY33" fmla="*/ 3362035 h 6061990"/>
                <a:gd name="connsiteX34" fmla="*/ 2406574 w 9143999"/>
                <a:gd name="connsiteY34" fmla="*/ 3366390 h 6061990"/>
                <a:gd name="connsiteX35" fmla="*/ 2410075 w 9143999"/>
                <a:gd name="connsiteY35" fmla="*/ 3371932 h 6061990"/>
                <a:gd name="connsiteX36" fmla="*/ 2445086 w 9143999"/>
                <a:gd name="connsiteY36" fmla="*/ 3470900 h 6061990"/>
                <a:gd name="connsiteX37" fmla="*/ 2529111 w 9143999"/>
                <a:gd name="connsiteY37" fmla="*/ 3575409 h 6061990"/>
                <a:gd name="connsiteX38" fmla="*/ 2886218 w 9143999"/>
                <a:gd name="connsiteY38" fmla="*/ 3828766 h 6061990"/>
                <a:gd name="connsiteX39" fmla="*/ 3414877 w 9143999"/>
                <a:gd name="connsiteY39" fmla="*/ 4075790 h 6061990"/>
                <a:gd name="connsiteX40" fmla="*/ 4034564 w 9143999"/>
                <a:gd name="connsiteY40" fmla="*/ 4294310 h 6061990"/>
                <a:gd name="connsiteX41" fmla="*/ 4706767 w 9143999"/>
                <a:gd name="connsiteY41" fmla="*/ 4487495 h 6061990"/>
                <a:gd name="connsiteX42" fmla="*/ 6128195 w 9143999"/>
                <a:gd name="connsiteY42" fmla="*/ 4810525 h 6061990"/>
                <a:gd name="connsiteX43" fmla="*/ 7609141 w 9143999"/>
                <a:gd name="connsiteY43" fmla="*/ 5070216 h 6061990"/>
                <a:gd name="connsiteX44" fmla="*/ 9118095 w 9143999"/>
                <a:gd name="connsiteY44" fmla="*/ 5285570 h 6061990"/>
                <a:gd name="connsiteX45" fmla="*/ 9143999 w 9143999"/>
                <a:gd name="connsiteY45" fmla="*/ 5288702 h 6061990"/>
                <a:gd name="connsiteX46" fmla="*/ 9143999 w 9143999"/>
                <a:gd name="connsiteY46" fmla="*/ 6061990 h 6061990"/>
                <a:gd name="connsiteX47" fmla="*/ 4752032 w 9143999"/>
                <a:gd name="connsiteY47" fmla="*/ 6061990 h 6061990"/>
                <a:gd name="connsiteX48" fmla="*/ 3828002 w 9143999"/>
                <a:gd name="connsiteY48" fmla="*/ 5760614 h 6061990"/>
                <a:gd name="connsiteX49" fmla="*/ 3071774 w 9143999"/>
                <a:gd name="connsiteY49" fmla="*/ 5475587 h 6061990"/>
                <a:gd name="connsiteX50" fmla="*/ 2329551 w 9143999"/>
                <a:gd name="connsiteY50" fmla="*/ 5136722 h 6061990"/>
                <a:gd name="connsiteX51" fmla="*/ 1615336 w 9143999"/>
                <a:gd name="connsiteY51" fmla="*/ 4712349 h 6061990"/>
                <a:gd name="connsiteX52" fmla="*/ 1282736 w 9143999"/>
                <a:gd name="connsiteY52" fmla="*/ 4446324 h 6061990"/>
                <a:gd name="connsiteX53" fmla="*/ 992148 w 9143999"/>
                <a:gd name="connsiteY53" fmla="*/ 4123294 h 6061990"/>
                <a:gd name="connsiteX54" fmla="*/ 792588 w 9143999"/>
                <a:gd name="connsiteY54" fmla="*/ 3733758 h 6061990"/>
                <a:gd name="connsiteX55" fmla="*/ 761078 w 9143999"/>
                <a:gd name="connsiteY55" fmla="*/ 3296717 h 6061990"/>
                <a:gd name="connsiteX56" fmla="*/ 764579 w 9143999"/>
                <a:gd name="connsiteY56" fmla="*/ 3271381 h 6061990"/>
                <a:gd name="connsiteX57" fmla="*/ 767643 w 9143999"/>
                <a:gd name="connsiteY57" fmla="*/ 3257526 h 6061990"/>
                <a:gd name="connsiteX58" fmla="*/ 771582 w 9143999"/>
                <a:gd name="connsiteY58" fmla="*/ 3242878 h 6061990"/>
                <a:gd name="connsiteX59" fmla="*/ 774645 w 9143999"/>
                <a:gd name="connsiteY59" fmla="*/ 3234565 h 6061990"/>
                <a:gd name="connsiteX60" fmla="*/ 775083 w 9143999"/>
                <a:gd name="connsiteY60" fmla="*/ 3226251 h 6061990"/>
                <a:gd name="connsiteX61" fmla="*/ 775083 w 9143999"/>
                <a:gd name="connsiteY61" fmla="*/ 3223876 h 6061990"/>
                <a:gd name="connsiteX62" fmla="*/ 778146 w 9143999"/>
                <a:gd name="connsiteY62" fmla="*/ 3218334 h 6061990"/>
                <a:gd name="connsiteX63" fmla="*/ 782085 w 9143999"/>
                <a:gd name="connsiteY63" fmla="*/ 3195374 h 6061990"/>
                <a:gd name="connsiteX64" fmla="*/ 813594 w 9143999"/>
                <a:gd name="connsiteY64" fmla="*/ 3106699 h 6061990"/>
                <a:gd name="connsiteX65" fmla="*/ 890617 w 9143999"/>
                <a:gd name="connsiteY65" fmla="*/ 2926182 h 6061990"/>
                <a:gd name="connsiteX66" fmla="*/ 1156698 w 9143999"/>
                <a:gd name="connsiteY66" fmla="*/ 2565148 h 6061990"/>
                <a:gd name="connsiteX67" fmla="*/ 1576824 w 9143999"/>
                <a:gd name="connsiteY67" fmla="*/ 2254786 h 6061990"/>
                <a:gd name="connsiteX68" fmla="*/ 2077475 w 9143999"/>
                <a:gd name="connsiteY68" fmla="*/ 2055267 h 6061990"/>
                <a:gd name="connsiteX69" fmla="*/ 2560620 w 9143999"/>
                <a:gd name="connsiteY69" fmla="*/ 1947590 h 6061990"/>
                <a:gd name="connsiteX70" fmla="*/ 3005254 w 9143999"/>
                <a:gd name="connsiteY70" fmla="*/ 1890585 h 6061990"/>
                <a:gd name="connsiteX71" fmla="*/ 3404374 w 9143999"/>
                <a:gd name="connsiteY71" fmla="*/ 1852581 h 6061990"/>
                <a:gd name="connsiteX72" fmla="*/ 3754480 w 9143999"/>
                <a:gd name="connsiteY72" fmla="*/ 1814578 h 6061990"/>
                <a:gd name="connsiteX73" fmla="*/ 4006556 w 9143999"/>
                <a:gd name="connsiteY73" fmla="*/ 1763907 h 6061990"/>
                <a:gd name="connsiteX74" fmla="*/ 4083579 w 9143999"/>
                <a:gd name="connsiteY74" fmla="*/ 1738571 h 6061990"/>
                <a:gd name="connsiteX75" fmla="*/ 4136095 w 9143999"/>
                <a:gd name="connsiteY75" fmla="*/ 1713235 h 6061990"/>
                <a:gd name="connsiteX76" fmla="*/ 4178107 w 9143999"/>
                <a:gd name="connsiteY76" fmla="*/ 1672065 h 6061990"/>
                <a:gd name="connsiteX77" fmla="*/ 4209617 w 9143999"/>
                <a:gd name="connsiteY77" fmla="*/ 1605558 h 6061990"/>
                <a:gd name="connsiteX78" fmla="*/ 4227122 w 9143999"/>
                <a:gd name="connsiteY78" fmla="*/ 1513716 h 6061990"/>
                <a:gd name="connsiteX79" fmla="*/ 4227122 w 9143999"/>
                <a:gd name="connsiteY79" fmla="*/ 1505403 h 6061990"/>
                <a:gd name="connsiteX80" fmla="*/ 4227122 w 9143999"/>
                <a:gd name="connsiteY80" fmla="*/ 1495902 h 6061990"/>
                <a:gd name="connsiteX81" fmla="*/ 4227122 w 9143999"/>
                <a:gd name="connsiteY81" fmla="*/ 1482047 h 6061990"/>
                <a:gd name="connsiteX82" fmla="*/ 4223621 w 9143999"/>
                <a:gd name="connsiteY82" fmla="*/ 1463045 h 6061990"/>
                <a:gd name="connsiteX83" fmla="*/ 4192112 w 9143999"/>
                <a:gd name="connsiteY83" fmla="*/ 1409207 h 6061990"/>
                <a:gd name="connsiteX84" fmla="*/ 4118589 w 9143999"/>
                <a:gd name="connsiteY84" fmla="*/ 1342700 h 6061990"/>
                <a:gd name="connsiteX85" fmla="*/ 3884019 w 9143999"/>
                <a:gd name="connsiteY85" fmla="*/ 1203354 h 6061990"/>
                <a:gd name="connsiteX86" fmla="*/ 3582928 w 9143999"/>
                <a:gd name="connsiteY86" fmla="*/ 1076675 h 6061990"/>
                <a:gd name="connsiteX87" fmla="*/ 3253829 w 9143999"/>
                <a:gd name="connsiteY87" fmla="*/ 965832 h 6061990"/>
                <a:gd name="connsiteX88" fmla="*/ 2543115 w 9143999"/>
                <a:gd name="connsiteY88" fmla="*/ 772647 h 6061990"/>
                <a:gd name="connsiteX89" fmla="*/ 1041163 w 9143999"/>
                <a:gd name="connsiteY89" fmla="*/ 468619 h 6061990"/>
                <a:gd name="connsiteX90" fmla="*/ 0 w 9143999"/>
                <a:gd name="connsiteY90" fmla="*/ 304674 h 6061990"/>
                <a:gd name="connsiteX91" fmla="*/ 0 w 9143999"/>
                <a:gd name="connsiteY91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10075 w 9143999"/>
                <a:gd name="connsiteY29" fmla="*/ 3296717 h 6061990"/>
                <a:gd name="connsiteX30" fmla="*/ 2406574 w 9143999"/>
                <a:gd name="connsiteY30" fmla="*/ 3341054 h 6061990"/>
                <a:gd name="connsiteX31" fmla="*/ 2406574 w 9143999"/>
                <a:gd name="connsiteY31" fmla="*/ 3349367 h 6061990"/>
                <a:gd name="connsiteX32" fmla="*/ 2407012 w 9143999"/>
                <a:gd name="connsiteY32" fmla="*/ 3355701 h 6061990"/>
                <a:gd name="connsiteX33" fmla="*/ 2406574 w 9143999"/>
                <a:gd name="connsiteY33" fmla="*/ 3366390 h 6061990"/>
                <a:gd name="connsiteX34" fmla="*/ 2410075 w 9143999"/>
                <a:gd name="connsiteY34" fmla="*/ 3371932 h 6061990"/>
                <a:gd name="connsiteX35" fmla="*/ 2445086 w 9143999"/>
                <a:gd name="connsiteY35" fmla="*/ 3470900 h 6061990"/>
                <a:gd name="connsiteX36" fmla="*/ 2529111 w 9143999"/>
                <a:gd name="connsiteY36" fmla="*/ 3575409 h 6061990"/>
                <a:gd name="connsiteX37" fmla="*/ 2886218 w 9143999"/>
                <a:gd name="connsiteY37" fmla="*/ 3828766 h 6061990"/>
                <a:gd name="connsiteX38" fmla="*/ 3414877 w 9143999"/>
                <a:gd name="connsiteY38" fmla="*/ 4075790 h 6061990"/>
                <a:gd name="connsiteX39" fmla="*/ 4034564 w 9143999"/>
                <a:gd name="connsiteY39" fmla="*/ 4294310 h 6061990"/>
                <a:gd name="connsiteX40" fmla="*/ 4706767 w 9143999"/>
                <a:gd name="connsiteY40" fmla="*/ 4487495 h 6061990"/>
                <a:gd name="connsiteX41" fmla="*/ 6128195 w 9143999"/>
                <a:gd name="connsiteY41" fmla="*/ 4810525 h 6061990"/>
                <a:gd name="connsiteX42" fmla="*/ 7609141 w 9143999"/>
                <a:gd name="connsiteY42" fmla="*/ 5070216 h 6061990"/>
                <a:gd name="connsiteX43" fmla="*/ 9118095 w 9143999"/>
                <a:gd name="connsiteY43" fmla="*/ 5285570 h 6061990"/>
                <a:gd name="connsiteX44" fmla="*/ 9143999 w 9143999"/>
                <a:gd name="connsiteY44" fmla="*/ 5288702 h 6061990"/>
                <a:gd name="connsiteX45" fmla="*/ 9143999 w 9143999"/>
                <a:gd name="connsiteY45" fmla="*/ 6061990 h 6061990"/>
                <a:gd name="connsiteX46" fmla="*/ 4752032 w 9143999"/>
                <a:gd name="connsiteY46" fmla="*/ 6061990 h 6061990"/>
                <a:gd name="connsiteX47" fmla="*/ 3828002 w 9143999"/>
                <a:gd name="connsiteY47" fmla="*/ 5760614 h 6061990"/>
                <a:gd name="connsiteX48" fmla="*/ 3071774 w 9143999"/>
                <a:gd name="connsiteY48" fmla="*/ 5475587 h 6061990"/>
                <a:gd name="connsiteX49" fmla="*/ 2329551 w 9143999"/>
                <a:gd name="connsiteY49" fmla="*/ 5136722 h 6061990"/>
                <a:gd name="connsiteX50" fmla="*/ 1615336 w 9143999"/>
                <a:gd name="connsiteY50" fmla="*/ 4712349 h 6061990"/>
                <a:gd name="connsiteX51" fmla="*/ 1282736 w 9143999"/>
                <a:gd name="connsiteY51" fmla="*/ 4446324 h 6061990"/>
                <a:gd name="connsiteX52" fmla="*/ 992148 w 9143999"/>
                <a:gd name="connsiteY52" fmla="*/ 4123294 h 6061990"/>
                <a:gd name="connsiteX53" fmla="*/ 792588 w 9143999"/>
                <a:gd name="connsiteY53" fmla="*/ 3733758 h 6061990"/>
                <a:gd name="connsiteX54" fmla="*/ 761078 w 9143999"/>
                <a:gd name="connsiteY54" fmla="*/ 3296717 h 6061990"/>
                <a:gd name="connsiteX55" fmla="*/ 764579 w 9143999"/>
                <a:gd name="connsiteY55" fmla="*/ 3271381 h 6061990"/>
                <a:gd name="connsiteX56" fmla="*/ 767643 w 9143999"/>
                <a:gd name="connsiteY56" fmla="*/ 3257526 h 6061990"/>
                <a:gd name="connsiteX57" fmla="*/ 771582 w 9143999"/>
                <a:gd name="connsiteY57" fmla="*/ 3242878 h 6061990"/>
                <a:gd name="connsiteX58" fmla="*/ 774645 w 9143999"/>
                <a:gd name="connsiteY58" fmla="*/ 3234565 h 6061990"/>
                <a:gd name="connsiteX59" fmla="*/ 775083 w 9143999"/>
                <a:gd name="connsiteY59" fmla="*/ 3226251 h 6061990"/>
                <a:gd name="connsiteX60" fmla="*/ 775083 w 9143999"/>
                <a:gd name="connsiteY60" fmla="*/ 3223876 h 6061990"/>
                <a:gd name="connsiteX61" fmla="*/ 778146 w 9143999"/>
                <a:gd name="connsiteY61" fmla="*/ 3218334 h 6061990"/>
                <a:gd name="connsiteX62" fmla="*/ 782085 w 9143999"/>
                <a:gd name="connsiteY62" fmla="*/ 3195374 h 6061990"/>
                <a:gd name="connsiteX63" fmla="*/ 813594 w 9143999"/>
                <a:gd name="connsiteY63" fmla="*/ 3106699 h 6061990"/>
                <a:gd name="connsiteX64" fmla="*/ 890617 w 9143999"/>
                <a:gd name="connsiteY64" fmla="*/ 2926182 h 6061990"/>
                <a:gd name="connsiteX65" fmla="*/ 1156698 w 9143999"/>
                <a:gd name="connsiteY65" fmla="*/ 2565148 h 6061990"/>
                <a:gd name="connsiteX66" fmla="*/ 1576824 w 9143999"/>
                <a:gd name="connsiteY66" fmla="*/ 2254786 h 6061990"/>
                <a:gd name="connsiteX67" fmla="*/ 2077475 w 9143999"/>
                <a:gd name="connsiteY67" fmla="*/ 2055267 h 6061990"/>
                <a:gd name="connsiteX68" fmla="*/ 2560620 w 9143999"/>
                <a:gd name="connsiteY68" fmla="*/ 1947590 h 6061990"/>
                <a:gd name="connsiteX69" fmla="*/ 3005254 w 9143999"/>
                <a:gd name="connsiteY69" fmla="*/ 1890585 h 6061990"/>
                <a:gd name="connsiteX70" fmla="*/ 3404374 w 9143999"/>
                <a:gd name="connsiteY70" fmla="*/ 1852581 h 6061990"/>
                <a:gd name="connsiteX71" fmla="*/ 3754480 w 9143999"/>
                <a:gd name="connsiteY71" fmla="*/ 1814578 h 6061990"/>
                <a:gd name="connsiteX72" fmla="*/ 4006556 w 9143999"/>
                <a:gd name="connsiteY72" fmla="*/ 1763907 h 6061990"/>
                <a:gd name="connsiteX73" fmla="*/ 4083579 w 9143999"/>
                <a:gd name="connsiteY73" fmla="*/ 1738571 h 6061990"/>
                <a:gd name="connsiteX74" fmla="*/ 4136095 w 9143999"/>
                <a:gd name="connsiteY74" fmla="*/ 1713235 h 6061990"/>
                <a:gd name="connsiteX75" fmla="*/ 4178107 w 9143999"/>
                <a:gd name="connsiteY75" fmla="*/ 1672065 h 6061990"/>
                <a:gd name="connsiteX76" fmla="*/ 4209617 w 9143999"/>
                <a:gd name="connsiteY76" fmla="*/ 1605558 h 6061990"/>
                <a:gd name="connsiteX77" fmla="*/ 4227122 w 9143999"/>
                <a:gd name="connsiteY77" fmla="*/ 1513716 h 6061990"/>
                <a:gd name="connsiteX78" fmla="*/ 4227122 w 9143999"/>
                <a:gd name="connsiteY78" fmla="*/ 1505403 h 6061990"/>
                <a:gd name="connsiteX79" fmla="*/ 4227122 w 9143999"/>
                <a:gd name="connsiteY79" fmla="*/ 1495902 h 6061990"/>
                <a:gd name="connsiteX80" fmla="*/ 4227122 w 9143999"/>
                <a:gd name="connsiteY80" fmla="*/ 1482047 h 6061990"/>
                <a:gd name="connsiteX81" fmla="*/ 4223621 w 9143999"/>
                <a:gd name="connsiteY81" fmla="*/ 1463045 h 6061990"/>
                <a:gd name="connsiteX82" fmla="*/ 4192112 w 9143999"/>
                <a:gd name="connsiteY82" fmla="*/ 1409207 h 6061990"/>
                <a:gd name="connsiteX83" fmla="*/ 4118589 w 9143999"/>
                <a:gd name="connsiteY83" fmla="*/ 1342700 h 6061990"/>
                <a:gd name="connsiteX84" fmla="*/ 3884019 w 9143999"/>
                <a:gd name="connsiteY84" fmla="*/ 1203354 h 6061990"/>
                <a:gd name="connsiteX85" fmla="*/ 3582928 w 9143999"/>
                <a:gd name="connsiteY85" fmla="*/ 1076675 h 6061990"/>
                <a:gd name="connsiteX86" fmla="*/ 3253829 w 9143999"/>
                <a:gd name="connsiteY86" fmla="*/ 965832 h 6061990"/>
                <a:gd name="connsiteX87" fmla="*/ 2543115 w 9143999"/>
                <a:gd name="connsiteY87" fmla="*/ 772647 h 6061990"/>
                <a:gd name="connsiteX88" fmla="*/ 1041163 w 9143999"/>
                <a:gd name="connsiteY88" fmla="*/ 468619 h 6061990"/>
                <a:gd name="connsiteX89" fmla="*/ 0 w 9143999"/>
                <a:gd name="connsiteY89" fmla="*/ 304674 h 6061990"/>
                <a:gd name="connsiteX90" fmla="*/ 0 w 9143999"/>
                <a:gd name="connsiteY90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10075 w 9143999"/>
                <a:gd name="connsiteY29" fmla="*/ 3296717 h 6061990"/>
                <a:gd name="connsiteX30" fmla="*/ 2406574 w 9143999"/>
                <a:gd name="connsiteY30" fmla="*/ 3341054 h 6061990"/>
                <a:gd name="connsiteX31" fmla="*/ 2406574 w 9143999"/>
                <a:gd name="connsiteY31" fmla="*/ 3349367 h 6061990"/>
                <a:gd name="connsiteX32" fmla="*/ 2406574 w 9143999"/>
                <a:gd name="connsiteY32" fmla="*/ 3366390 h 6061990"/>
                <a:gd name="connsiteX33" fmla="*/ 2410075 w 9143999"/>
                <a:gd name="connsiteY33" fmla="*/ 3371932 h 6061990"/>
                <a:gd name="connsiteX34" fmla="*/ 2445086 w 9143999"/>
                <a:gd name="connsiteY34" fmla="*/ 3470900 h 6061990"/>
                <a:gd name="connsiteX35" fmla="*/ 2529111 w 9143999"/>
                <a:gd name="connsiteY35" fmla="*/ 3575409 h 6061990"/>
                <a:gd name="connsiteX36" fmla="*/ 2886218 w 9143999"/>
                <a:gd name="connsiteY36" fmla="*/ 3828766 h 6061990"/>
                <a:gd name="connsiteX37" fmla="*/ 3414877 w 9143999"/>
                <a:gd name="connsiteY37" fmla="*/ 4075790 h 6061990"/>
                <a:gd name="connsiteX38" fmla="*/ 4034564 w 9143999"/>
                <a:gd name="connsiteY38" fmla="*/ 4294310 h 6061990"/>
                <a:gd name="connsiteX39" fmla="*/ 4706767 w 9143999"/>
                <a:gd name="connsiteY39" fmla="*/ 4487495 h 6061990"/>
                <a:gd name="connsiteX40" fmla="*/ 6128195 w 9143999"/>
                <a:gd name="connsiteY40" fmla="*/ 4810525 h 6061990"/>
                <a:gd name="connsiteX41" fmla="*/ 7609141 w 9143999"/>
                <a:gd name="connsiteY41" fmla="*/ 5070216 h 6061990"/>
                <a:gd name="connsiteX42" fmla="*/ 9118095 w 9143999"/>
                <a:gd name="connsiteY42" fmla="*/ 5285570 h 6061990"/>
                <a:gd name="connsiteX43" fmla="*/ 9143999 w 9143999"/>
                <a:gd name="connsiteY43" fmla="*/ 5288702 h 6061990"/>
                <a:gd name="connsiteX44" fmla="*/ 9143999 w 9143999"/>
                <a:gd name="connsiteY44" fmla="*/ 6061990 h 6061990"/>
                <a:gd name="connsiteX45" fmla="*/ 4752032 w 9143999"/>
                <a:gd name="connsiteY45" fmla="*/ 6061990 h 6061990"/>
                <a:gd name="connsiteX46" fmla="*/ 3828002 w 9143999"/>
                <a:gd name="connsiteY46" fmla="*/ 5760614 h 6061990"/>
                <a:gd name="connsiteX47" fmla="*/ 3071774 w 9143999"/>
                <a:gd name="connsiteY47" fmla="*/ 5475587 h 6061990"/>
                <a:gd name="connsiteX48" fmla="*/ 2329551 w 9143999"/>
                <a:gd name="connsiteY48" fmla="*/ 5136722 h 6061990"/>
                <a:gd name="connsiteX49" fmla="*/ 1615336 w 9143999"/>
                <a:gd name="connsiteY49" fmla="*/ 4712349 h 6061990"/>
                <a:gd name="connsiteX50" fmla="*/ 1282736 w 9143999"/>
                <a:gd name="connsiteY50" fmla="*/ 4446324 h 6061990"/>
                <a:gd name="connsiteX51" fmla="*/ 992148 w 9143999"/>
                <a:gd name="connsiteY51" fmla="*/ 4123294 h 6061990"/>
                <a:gd name="connsiteX52" fmla="*/ 792588 w 9143999"/>
                <a:gd name="connsiteY52" fmla="*/ 3733758 h 6061990"/>
                <a:gd name="connsiteX53" fmla="*/ 761078 w 9143999"/>
                <a:gd name="connsiteY53" fmla="*/ 3296717 h 6061990"/>
                <a:gd name="connsiteX54" fmla="*/ 764579 w 9143999"/>
                <a:gd name="connsiteY54" fmla="*/ 3271381 h 6061990"/>
                <a:gd name="connsiteX55" fmla="*/ 767643 w 9143999"/>
                <a:gd name="connsiteY55" fmla="*/ 3257526 h 6061990"/>
                <a:gd name="connsiteX56" fmla="*/ 771582 w 9143999"/>
                <a:gd name="connsiteY56" fmla="*/ 3242878 h 6061990"/>
                <a:gd name="connsiteX57" fmla="*/ 774645 w 9143999"/>
                <a:gd name="connsiteY57" fmla="*/ 3234565 h 6061990"/>
                <a:gd name="connsiteX58" fmla="*/ 775083 w 9143999"/>
                <a:gd name="connsiteY58" fmla="*/ 3226251 h 6061990"/>
                <a:gd name="connsiteX59" fmla="*/ 775083 w 9143999"/>
                <a:gd name="connsiteY59" fmla="*/ 3223876 h 6061990"/>
                <a:gd name="connsiteX60" fmla="*/ 778146 w 9143999"/>
                <a:gd name="connsiteY60" fmla="*/ 3218334 h 6061990"/>
                <a:gd name="connsiteX61" fmla="*/ 782085 w 9143999"/>
                <a:gd name="connsiteY61" fmla="*/ 3195374 h 6061990"/>
                <a:gd name="connsiteX62" fmla="*/ 813594 w 9143999"/>
                <a:gd name="connsiteY62" fmla="*/ 3106699 h 6061990"/>
                <a:gd name="connsiteX63" fmla="*/ 890617 w 9143999"/>
                <a:gd name="connsiteY63" fmla="*/ 2926182 h 6061990"/>
                <a:gd name="connsiteX64" fmla="*/ 1156698 w 9143999"/>
                <a:gd name="connsiteY64" fmla="*/ 2565148 h 6061990"/>
                <a:gd name="connsiteX65" fmla="*/ 1576824 w 9143999"/>
                <a:gd name="connsiteY65" fmla="*/ 2254786 h 6061990"/>
                <a:gd name="connsiteX66" fmla="*/ 2077475 w 9143999"/>
                <a:gd name="connsiteY66" fmla="*/ 2055267 h 6061990"/>
                <a:gd name="connsiteX67" fmla="*/ 2560620 w 9143999"/>
                <a:gd name="connsiteY67" fmla="*/ 1947590 h 6061990"/>
                <a:gd name="connsiteX68" fmla="*/ 3005254 w 9143999"/>
                <a:gd name="connsiteY68" fmla="*/ 1890585 h 6061990"/>
                <a:gd name="connsiteX69" fmla="*/ 3404374 w 9143999"/>
                <a:gd name="connsiteY69" fmla="*/ 1852581 h 6061990"/>
                <a:gd name="connsiteX70" fmla="*/ 3754480 w 9143999"/>
                <a:gd name="connsiteY70" fmla="*/ 1814578 h 6061990"/>
                <a:gd name="connsiteX71" fmla="*/ 4006556 w 9143999"/>
                <a:gd name="connsiteY71" fmla="*/ 1763907 h 6061990"/>
                <a:gd name="connsiteX72" fmla="*/ 4083579 w 9143999"/>
                <a:gd name="connsiteY72" fmla="*/ 1738571 h 6061990"/>
                <a:gd name="connsiteX73" fmla="*/ 4136095 w 9143999"/>
                <a:gd name="connsiteY73" fmla="*/ 1713235 h 6061990"/>
                <a:gd name="connsiteX74" fmla="*/ 4178107 w 9143999"/>
                <a:gd name="connsiteY74" fmla="*/ 1672065 h 6061990"/>
                <a:gd name="connsiteX75" fmla="*/ 4209617 w 9143999"/>
                <a:gd name="connsiteY75" fmla="*/ 1605558 h 6061990"/>
                <a:gd name="connsiteX76" fmla="*/ 4227122 w 9143999"/>
                <a:gd name="connsiteY76" fmla="*/ 1513716 h 6061990"/>
                <a:gd name="connsiteX77" fmla="*/ 4227122 w 9143999"/>
                <a:gd name="connsiteY77" fmla="*/ 1505403 h 6061990"/>
                <a:gd name="connsiteX78" fmla="*/ 4227122 w 9143999"/>
                <a:gd name="connsiteY78" fmla="*/ 1495902 h 6061990"/>
                <a:gd name="connsiteX79" fmla="*/ 4227122 w 9143999"/>
                <a:gd name="connsiteY79" fmla="*/ 1482047 h 6061990"/>
                <a:gd name="connsiteX80" fmla="*/ 4223621 w 9143999"/>
                <a:gd name="connsiteY80" fmla="*/ 1463045 h 6061990"/>
                <a:gd name="connsiteX81" fmla="*/ 4192112 w 9143999"/>
                <a:gd name="connsiteY81" fmla="*/ 1409207 h 6061990"/>
                <a:gd name="connsiteX82" fmla="*/ 4118589 w 9143999"/>
                <a:gd name="connsiteY82" fmla="*/ 1342700 h 6061990"/>
                <a:gd name="connsiteX83" fmla="*/ 3884019 w 9143999"/>
                <a:gd name="connsiteY83" fmla="*/ 1203354 h 6061990"/>
                <a:gd name="connsiteX84" fmla="*/ 3582928 w 9143999"/>
                <a:gd name="connsiteY84" fmla="*/ 1076675 h 6061990"/>
                <a:gd name="connsiteX85" fmla="*/ 3253829 w 9143999"/>
                <a:gd name="connsiteY85" fmla="*/ 965832 h 6061990"/>
                <a:gd name="connsiteX86" fmla="*/ 2543115 w 9143999"/>
                <a:gd name="connsiteY86" fmla="*/ 772647 h 6061990"/>
                <a:gd name="connsiteX87" fmla="*/ 1041163 w 9143999"/>
                <a:gd name="connsiteY87" fmla="*/ 468619 h 6061990"/>
                <a:gd name="connsiteX88" fmla="*/ 0 w 9143999"/>
                <a:gd name="connsiteY88" fmla="*/ 304674 h 6061990"/>
                <a:gd name="connsiteX89" fmla="*/ 0 w 9143999"/>
                <a:gd name="connsiteY89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10075 w 9143999"/>
                <a:gd name="connsiteY29" fmla="*/ 3296717 h 6061990"/>
                <a:gd name="connsiteX30" fmla="*/ 2406574 w 9143999"/>
                <a:gd name="connsiteY30" fmla="*/ 3341054 h 6061990"/>
                <a:gd name="connsiteX31" fmla="*/ 2406574 w 9143999"/>
                <a:gd name="connsiteY31" fmla="*/ 3366390 h 6061990"/>
                <a:gd name="connsiteX32" fmla="*/ 2410075 w 9143999"/>
                <a:gd name="connsiteY32" fmla="*/ 3371932 h 6061990"/>
                <a:gd name="connsiteX33" fmla="*/ 2445086 w 9143999"/>
                <a:gd name="connsiteY33" fmla="*/ 3470900 h 6061990"/>
                <a:gd name="connsiteX34" fmla="*/ 2529111 w 9143999"/>
                <a:gd name="connsiteY34" fmla="*/ 3575409 h 6061990"/>
                <a:gd name="connsiteX35" fmla="*/ 2886218 w 9143999"/>
                <a:gd name="connsiteY35" fmla="*/ 3828766 h 6061990"/>
                <a:gd name="connsiteX36" fmla="*/ 3414877 w 9143999"/>
                <a:gd name="connsiteY36" fmla="*/ 4075790 h 6061990"/>
                <a:gd name="connsiteX37" fmla="*/ 4034564 w 9143999"/>
                <a:gd name="connsiteY37" fmla="*/ 4294310 h 6061990"/>
                <a:gd name="connsiteX38" fmla="*/ 4706767 w 9143999"/>
                <a:gd name="connsiteY38" fmla="*/ 4487495 h 6061990"/>
                <a:gd name="connsiteX39" fmla="*/ 6128195 w 9143999"/>
                <a:gd name="connsiteY39" fmla="*/ 4810525 h 6061990"/>
                <a:gd name="connsiteX40" fmla="*/ 7609141 w 9143999"/>
                <a:gd name="connsiteY40" fmla="*/ 5070216 h 6061990"/>
                <a:gd name="connsiteX41" fmla="*/ 9118095 w 9143999"/>
                <a:gd name="connsiteY41" fmla="*/ 5285570 h 6061990"/>
                <a:gd name="connsiteX42" fmla="*/ 9143999 w 9143999"/>
                <a:gd name="connsiteY42" fmla="*/ 5288702 h 6061990"/>
                <a:gd name="connsiteX43" fmla="*/ 9143999 w 9143999"/>
                <a:gd name="connsiteY43" fmla="*/ 6061990 h 6061990"/>
                <a:gd name="connsiteX44" fmla="*/ 4752032 w 9143999"/>
                <a:gd name="connsiteY44" fmla="*/ 6061990 h 6061990"/>
                <a:gd name="connsiteX45" fmla="*/ 3828002 w 9143999"/>
                <a:gd name="connsiteY45" fmla="*/ 5760614 h 6061990"/>
                <a:gd name="connsiteX46" fmla="*/ 3071774 w 9143999"/>
                <a:gd name="connsiteY46" fmla="*/ 5475587 h 6061990"/>
                <a:gd name="connsiteX47" fmla="*/ 2329551 w 9143999"/>
                <a:gd name="connsiteY47" fmla="*/ 5136722 h 6061990"/>
                <a:gd name="connsiteX48" fmla="*/ 1615336 w 9143999"/>
                <a:gd name="connsiteY48" fmla="*/ 4712349 h 6061990"/>
                <a:gd name="connsiteX49" fmla="*/ 1282736 w 9143999"/>
                <a:gd name="connsiteY49" fmla="*/ 4446324 h 6061990"/>
                <a:gd name="connsiteX50" fmla="*/ 992148 w 9143999"/>
                <a:gd name="connsiteY50" fmla="*/ 4123294 h 6061990"/>
                <a:gd name="connsiteX51" fmla="*/ 792588 w 9143999"/>
                <a:gd name="connsiteY51" fmla="*/ 3733758 h 6061990"/>
                <a:gd name="connsiteX52" fmla="*/ 761078 w 9143999"/>
                <a:gd name="connsiteY52" fmla="*/ 3296717 h 6061990"/>
                <a:gd name="connsiteX53" fmla="*/ 764579 w 9143999"/>
                <a:gd name="connsiteY53" fmla="*/ 3271381 h 6061990"/>
                <a:gd name="connsiteX54" fmla="*/ 767643 w 9143999"/>
                <a:gd name="connsiteY54" fmla="*/ 3257526 h 6061990"/>
                <a:gd name="connsiteX55" fmla="*/ 771582 w 9143999"/>
                <a:gd name="connsiteY55" fmla="*/ 3242878 h 6061990"/>
                <a:gd name="connsiteX56" fmla="*/ 774645 w 9143999"/>
                <a:gd name="connsiteY56" fmla="*/ 3234565 h 6061990"/>
                <a:gd name="connsiteX57" fmla="*/ 775083 w 9143999"/>
                <a:gd name="connsiteY57" fmla="*/ 3226251 h 6061990"/>
                <a:gd name="connsiteX58" fmla="*/ 775083 w 9143999"/>
                <a:gd name="connsiteY58" fmla="*/ 3223876 h 6061990"/>
                <a:gd name="connsiteX59" fmla="*/ 778146 w 9143999"/>
                <a:gd name="connsiteY59" fmla="*/ 3218334 h 6061990"/>
                <a:gd name="connsiteX60" fmla="*/ 782085 w 9143999"/>
                <a:gd name="connsiteY60" fmla="*/ 3195374 h 6061990"/>
                <a:gd name="connsiteX61" fmla="*/ 813594 w 9143999"/>
                <a:gd name="connsiteY61" fmla="*/ 3106699 h 6061990"/>
                <a:gd name="connsiteX62" fmla="*/ 890617 w 9143999"/>
                <a:gd name="connsiteY62" fmla="*/ 2926182 h 6061990"/>
                <a:gd name="connsiteX63" fmla="*/ 1156698 w 9143999"/>
                <a:gd name="connsiteY63" fmla="*/ 2565148 h 6061990"/>
                <a:gd name="connsiteX64" fmla="*/ 1576824 w 9143999"/>
                <a:gd name="connsiteY64" fmla="*/ 2254786 h 6061990"/>
                <a:gd name="connsiteX65" fmla="*/ 2077475 w 9143999"/>
                <a:gd name="connsiteY65" fmla="*/ 2055267 h 6061990"/>
                <a:gd name="connsiteX66" fmla="*/ 2560620 w 9143999"/>
                <a:gd name="connsiteY66" fmla="*/ 1947590 h 6061990"/>
                <a:gd name="connsiteX67" fmla="*/ 3005254 w 9143999"/>
                <a:gd name="connsiteY67" fmla="*/ 1890585 h 6061990"/>
                <a:gd name="connsiteX68" fmla="*/ 3404374 w 9143999"/>
                <a:gd name="connsiteY68" fmla="*/ 1852581 h 6061990"/>
                <a:gd name="connsiteX69" fmla="*/ 3754480 w 9143999"/>
                <a:gd name="connsiteY69" fmla="*/ 1814578 h 6061990"/>
                <a:gd name="connsiteX70" fmla="*/ 4006556 w 9143999"/>
                <a:gd name="connsiteY70" fmla="*/ 1763907 h 6061990"/>
                <a:gd name="connsiteX71" fmla="*/ 4083579 w 9143999"/>
                <a:gd name="connsiteY71" fmla="*/ 1738571 h 6061990"/>
                <a:gd name="connsiteX72" fmla="*/ 4136095 w 9143999"/>
                <a:gd name="connsiteY72" fmla="*/ 1713235 h 6061990"/>
                <a:gd name="connsiteX73" fmla="*/ 4178107 w 9143999"/>
                <a:gd name="connsiteY73" fmla="*/ 1672065 h 6061990"/>
                <a:gd name="connsiteX74" fmla="*/ 4209617 w 9143999"/>
                <a:gd name="connsiteY74" fmla="*/ 1605558 h 6061990"/>
                <a:gd name="connsiteX75" fmla="*/ 4227122 w 9143999"/>
                <a:gd name="connsiteY75" fmla="*/ 1513716 h 6061990"/>
                <a:gd name="connsiteX76" fmla="*/ 4227122 w 9143999"/>
                <a:gd name="connsiteY76" fmla="*/ 1505403 h 6061990"/>
                <a:gd name="connsiteX77" fmla="*/ 4227122 w 9143999"/>
                <a:gd name="connsiteY77" fmla="*/ 1495902 h 6061990"/>
                <a:gd name="connsiteX78" fmla="*/ 4227122 w 9143999"/>
                <a:gd name="connsiteY78" fmla="*/ 1482047 h 6061990"/>
                <a:gd name="connsiteX79" fmla="*/ 4223621 w 9143999"/>
                <a:gd name="connsiteY79" fmla="*/ 1463045 h 6061990"/>
                <a:gd name="connsiteX80" fmla="*/ 4192112 w 9143999"/>
                <a:gd name="connsiteY80" fmla="*/ 1409207 h 6061990"/>
                <a:gd name="connsiteX81" fmla="*/ 4118589 w 9143999"/>
                <a:gd name="connsiteY81" fmla="*/ 1342700 h 6061990"/>
                <a:gd name="connsiteX82" fmla="*/ 3884019 w 9143999"/>
                <a:gd name="connsiteY82" fmla="*/ 1203354 h 6061990"/>
                <a:gd name="connsiteX83" fmla="*/ 3582928 w 9143999"/>
                <a:gd name="connsiteY83" fmla="*/ 1076675 h 6061990"/>
                <a:gd name="connsiteX84" fmla="*/ 3253829 w 9143999"/>
                <a:gd name="connsiteY84" fmla="*/ 965832 h 6061990"/>
                <a:gd name="connsiteX85" fmla="*/ 2543115 w 9143999"/>
                <a:gd name="connsiteY85" fmla="*/ 772647 h 6061990"/>
                <a:gd name="connsiteX86" fmla="*/ 1041163 w 9143999"/>
                <a:gd name="connsiteY86" fmla="*/ 468619 h 6061990"/>
                <a:gd name="connsiteX87" fmla="*/ 0 w 9143999"/>
                <a:gd name="connsiteY87" fmla="*/ 304674 h 6061990"/>
                <a:gd name="connsiteX88" fmla="*/ 0 w 9143999"/>
                <a:gd name="connsiteY88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10075 w 9143999"/>
                <a:gd name="connsiteY29" fmla="*/ 3296717 h 6061990"/>
                <a:gd name="connsiteX30" fmla="*/ 2406574 w 9143999"/>
                <a:gd name="connsiteY30" fmla="*/ 3341054 h 6061990"/>
                <a:gd name="connsiteX31" fmla="*/ 2410075 w 9143999"/>
                <a:gd name="connsiteY31" fmla="*/ 3371932 h 6061990"/>
                <a:gd name="connsiteX32" fmla="*/ 2445086 w 9143999"/>
                <a:gd name="connsiteY32" fmla="*/ 3470900 h 6061990"/>
                <a:gd name="connsiteX33" fmla="*/ 2529111 w 9143999"/>
                <a:gd name="connsiteY33" fmla="*/ 3575409 h 6061990"/>
                <a:gd name="connsiteX34" fmla="*/ 2886218 w 9143999"/>
                <a:gd name="connsiteY34" fmla="*/ 3828766 h 6061990"/>
                <a:gd name="connsiteX35" fmla="*/ 3414877 w 9143999"/>
                <a:gd name="connsiteY35" fmla="*/ 4075790 h 6061990"/>
                <a:gd name="connsiteX36" fmla="*/ 4034564 w 9143999"/>
                <a:gd name="connsiteY36" fmla="*/ 4294310 h 6061990"/>
                <a:gd name="connsiteX37" fmla="*/ 4706767 w 9143999"/>
                <a:gd name="connsiteY37" fmla="*/ 4487495 h 6061990"/>
                <a:gd name="connsiteX38" fmla="*/ 6128195 w 9143999"/>
                <a:gd name="connsiteY38" fmla="*/ 4810525 h 6061990"/>
                <a:gd name="connsiteX39" fmla="*/ 7609141 w 9143999"/>
                <a:gd name="connsiteY39" fmla="*/ 5070216 h 6061990"/>
                <a:gd name="connsiteX40" fmla="*/ 9118095 w 9143999"/>
                <a:gd name="connsiteY40" fmla="*/ 5285570 h 6061990"/>
                <a:gd name="connsiteX41" fmla="*/ 9143999 w 9143999"/>
                <a:gd name="connsiteY41" fmla="*/ 5288702 h 6061990"/>
                <a:gd name="connsiteX42" fmla="*/ 9143999 w 9143999"/>
                <a:gd name="connsiteY42" fmla="*/ 6061990 h 6061990"/>
                <a:gd name="connsiteX43" fmla="*/ 4752032 w 9143999"/>
                <a:gd name="connsiteY43" fmla="*/ 6061990 h 6061990"/>
                <a:gd name="connsiteX44" fmla="*/ 3828002 w 9143999"/>
                <a:gd name="connsiteY44" fmla="*/ 5760614 h 6061990"/>
                <a:gd name="connsiteX45" fmla="*/ 3071774 w 9143999"/>
                <a:gd name="connsiteY45" fmla="*/ 5475587 h 6061990"/>
                <a:gd name="connsiteX46" fmla="*/ 2329551 w 9143999"/>
                <a:gd name="connsiteY46" fmla="*/ 5136722 h 6061990"/>
                <a:gd name="connsiteX47" fmla="*/ 1615336 w 9143999"/>
                <a:gd name="connsiteY47" fmla="*/ 4712349 h 6061990"/>
                <a:gd name="connsiteX48" fmla="*/ 1282736 w 9143999"/>
                <a:gd name="connsiteY48" fmla="*/ 4446324 h 6061990"/>
                <a:gd name="connsiteX49" fmla="*/ 992148 w 9143999"/>
                <a:gd name="connsiteY49" fmla="*/ 4123294 h 6061990"/>
                <a:gd name="connsiteX50" fmla="*/ 792588 w 9143999"/>
                <a:gd name="connsiteY50" fmla="*/ 3733758 h 6061990"/>
                <a:gd name="connsiteX51" fmla="*/ 761078 w 9143999"/>
                <a:gd name="connsiteY51" fmla="*/ 3296717 h 6061990"/>
                <a:gd name="connsiteX52" fmla="*/ 764579 w 9143999"/>
                <a:gd name="connsiteY52" fmla="*/ 3271381 h 6061990"/>
                <a:gd name="connsiteX53" fmla="*/ 767643 w 9143999"/>
                <a:gd name="connsiteY53" fmla="*/ 3257526 h 6061990"/>
                <a:gd name="connsiteX54" fmla="*/ 771582 w 9143999"/>
                <a:gd name="connsiteY54" fmla="*/ 3242878 h 6061990"/>
                <a:gd name="connsiteX55" fmla="*/ 774645 w 9143999"/>
                <a:gd name="connsiteY55" fmla="*/ 3234565 h 6061990"/>
                <a:gd name="connsiteX56" fmla="*/ 775083 w 9143999"/>
                <a:gd name="connsiteY56" fmla="*/ 3226251 h 6061990"/>
                <a:gd name="connsiteX57" fmla="*/ 775083 w 9143999"/>
                <a:gd name="connsiteY57" fmla="*/ 3223876 h 6061990"/>
                <a:gd name="connsiteX58" fmla="*/ 778146 w 9143999"/>
                <a:gd name="connsiteY58" fmla="*/ 3218334 h 6061990"/>
                <a:gd name="connsiteX59" fmla="*/ 782085 w 9143999"/>
                <a:gd name="connsiteY59" fmla="*/ 3195374 h 6061990"/>
                <a:gd name="connsiteX60" fmla="*/ 813594 w 9143999"/>
                <a:gd name="connsiteY60" fmla="*/ 3106699 h 6061990"/>
                <a:gd name="connsiteX61" fmla="*/ 890617 w 9143999"/>
                <a:gd name="connsiteY61" fmla="*/ 2926182 h 6061990"/>
                <a:gd name="connsiteX62" fmla="*/ 1156698 w 9143999"/>
                <a:gd name="connsiteY62" fmla="*/ 2565148 h 6061990"/>
                <a:gd name="connsiteX63" fmla="*/ 1576824 w 9143999"/>
                <a:gd name="connsiteY63" fmla="*/ 2254786 h 6061990"/>
                <a:gd name="connsiteX64" fmla="*/ 2077475 w 9143999"/>
                <a:gd name="connsiteY64" fmla="*/ 2055267 h 6061990"/>
                <a:gd name="connsiteX65" fmla="*/ 2560620 w 9143999"/>
                <a:gd name="connsiteY65" fmla="*/ 1947590 h 6061990"/>
                <a:gd name="connsiteX66" fmla="*/ 3005254 w 9143999"/>
                <a:gd name="connsiteY66" fmla="*/ 1890585 h 6061990"/>
                <a:gd name="connsiteX67" fmla="*/ 3404374 w 9143999"/>
                <a:gd name="connsiteY67" fmla="*/ 1852581 h 6061990"/>
                <a:gd name="connsiteX68" fmla="*/ 3754480 w 9143999"/>
                <a:gd name="connsiteY68" fmla="*/ 1814578 h 6061990"/>
                <a:gd name="connsiteX69" fmla="*/ 4006556 w 9143999"/>
                <a:gd name="connsiteY69" fmla="*/ 1763907 h 6061990"/>
                <a:gd name="connsiteX70" fmla="*/ 4083579 w 9143999"/>
                <a:gd name="connsiteY70" fmla="*/ 1738571 h 6061990"/>
                <a:gd name="connsiteX71" fmla="*/ 4136095 w 9143999"/>
                <a:gd name="connsiteY71" fmla="*/ 1713235 h 6061990"/>
                <a:gd name="connsiteX72" fmla="*/ 4178107 w 9143999"/>
                <a:gd name="connsiteY72" fmla="*/ 1672065 h 6061990"/>
                <a:gd name="connsiteX73" fmla="*/ 4209617 w 9143999"/>
                <a:gd name="connsiteY73" fmla="*/ 1605558 h 6061990"/>
                <a:gd name="connsiteX74" fmla="*/ 4227122 w 9143999"/>
                <a:gd name="connsiteY74" fmla="*/ 1513716 h 6061990"/>
                <a:gd name="connsiteX75" fmla="*/ 4227122 w 9143999"/>
                <a:gd name="connsiteY75" fmla="*/ 1505403 h 6061990"/>
                <a:gd name="connsiteX76" fmla="*/ 4227122 w 9143999"/>
                <a:gd name="connsiteY76" fmla="*/ 1495902 h 6061990"/>
                <a:gd name="connsiteX77" fmla="*/ 4227122 w 9143999"/>
                <a:gd name="connsiteY77" fmla="*/ 1482047 h 6061990"/>
                <a:gd name="connsiteX78" fmla="*/ 4223621 w 9143999"/>
                <a:gd name="connsiteY78" fmla="*/ 1463045 h 6061990"/>
                <a:gd name="connsiteX79" fmla="*/ 4192112 w 9143999"/>
                <a:gd name="connsiteY79" fmla="*/ 1409207 h 6061990"/>
                <a:gd name="connsiteX80" fmla="*/ 4118589 w 9143999"/>
                <a:gd name="connsiteY80" fmla="*/ 1342700 h 6061990"/>
                <a:gd name="connsiteX81" fmla="*/ 3884019 w 9143999"/>
                <a:gd name="connsiteY81" fmla="*/ 1203354 h 6061990"/>
                <a:gd name="connsiteX82" fmla="*/ 3582928 w 9143999"/>
                <a:gd name="connsiteY82" fmla="*/ 1076675 h 6061990"/>
                <a:gd name="connsiteX83" fmla="*/ 3253829 w 9143999"/>
                <a:gd name="connsiteY83" fmla="*/ 965832 h 6061990"/>
                <a:gd name="connsiteX84" fmla="*/ 2543115 w 9143999"/>
                <a:gd name="connsiteY84" fmla="*/ 772647 h 6061990"/>
                <a:gd name="connsiteX85" fmla="*/ 1041163 w 9143999"/>
                <a:gd name="connsiteY85" fmla="*/ 468619 h 6061990"/>
                <a:gd name="connsiteX86" fmla="*/ 0 w 9143999"/>
                <a:gd name="connsiteY86" fmla="*/ 304674 h 6061990"/>
                <a:gd name="connsiteX87" fmla="*/ 0 w 9143999"/>
                <a:gd name="connsiteY87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10075 w 9143999"/>
                <a:gd name="connsiteY29" fmla="*/ 3296717 h 6061990"/>
                <a:gd name="connsiteX30" fmla="*/ 2406574 w 9143999"/>
                <a:gd name="connsiteY30" fmla="*/ 3341054 h 6061990"/>
                <a:gd name="connsiteX31" fmla="*/ 2445086 w 9143999"/>
                <a:gd name="connsiteY31" fmla="*/ 3470900 h 6061990"/>
                <a:gd name="connsiteX32" fmla="*/ 2529111 w 9143999"/>
                <a:gd name="connsiteY32" fmla="*/ 3575409 h 6061990"/>
                <a:gd name="connsiteX33" fmla="*/ 2886218 w 9143999"/>
                <a:gd name="connsiteY33" fmla="*/ 3828766 h 6061990"/>
                <a:gd name="connsiteX34" fmla="*/ 3414877 w 9143999"/>
                <a:gd name="connsiteY34" fmla="*/ 4075790 h 6061990"/>
                <a:gd name="connsiteX35" fmla="*/ 4034564 w 9143999"/>
                <a:gd name="connsiteY35" fmla="*/ 4294310 h 6061990"/>
                <a:gd name="connsiteX36" fmla="*/ 4706767 w 9143999"/>
                <a:gd name="connsiteY36" fmla="*/ 4487495 h 6061990"/>
                <a:gd name="connsiteX37" fmla="*/ 6128195 w 9143999"/>
                <a:gd name="connsiteY37" fmla="*/ 4810525 h 6061990"/>
                <a:gd name="connsiteX38" fmla="*/ 7609141 w 9143999"/>
                <a:gd name="connsiteY38" fmla="*/ 5070216 h 6061990"/>
                <a:gd name="connsiteX39" fmla="*/ 9118095 w 9143999"/>
                <a:gd name="connsiteY39" fmla="*/ 5285570 h 6061990"/>
                <a:gd name="connsiteX40" fmla="*/ 9143999 w 9143999"/>
                <a:gd name="connsiteY40" fmla="*/ 5288702 h 6061990"/>
                <a:gd name="connsiteX41" fmla="*/ 9143999 w 9143999"/>
                <a:gd name="connsiteY41" fmla="*/ 6061990 h 6061990"/>
                <a:gd name="connsiteX42" fmla="*/ 4752032 w 9143999"/>
                <a:gd name="connsiteY42" fmla="*/ 6061990 h 6061990"/>
                <a:gd name="connsiteX43" fmla="*/ 3828002 w 9143999"/>
                <a:gd name="connsiteY43" fmla="*/ 5760614 h 6061990"/>
                <a:gd name="connsiteX44" fmla="*/ 3071774 w 9143999"/>
                <a:gd name="connsiteY44" fmla="*/ 5475587 h 6061990"/>
                <a:gd name="connsiteX45" fmla="*/ 2329551 w 9143999"/>
                <a:gd name="connsiteY45" fmla="*/ 5136722 h 6061990"/>
                <a:gd name="connsiteX46" fmla="*/ 1615336 w 9143999"/>
                <a:gd name="connsiteY46" fmla="*/ 4712349 h 6061990"/>
                <a:gd name="connsiteX47" fmla="*/ 1282736 w 9143999"/>
                <a:gd name="connsiteY47" fmla="*/ 4446324 h 6061990"/>
                <a:gd name="connsiteX48" fmla="*/ 992148 w 9143999"/>
                <a:gd name="connsiteY48" fmla="*/ 4123294 h 6061990"/>
                <a:gd name="connsiteX49" fmla="*/ 792588 w 9143999"/>
                <a:gd name="connsiteY49" fmla="*/ 3733758 h 6061990"/>
                <a:gd name="connsiteX50" fmla="*/ 761078 w 9143999"/>
                <a:gd name="connsiteY50" fmla="*/ 3296717 h 6061990"/>
                <a:gd name="connsiteX51" fmla="*/ 764579 w 9143999"/>
                <a:gd name="connsiteY51" fmla="*/ 3271381 h 6061990"/>
                <a:gd name="connsiteX52" fmla="*/ 767643 w 9143999"/>
                <a:gd name="connsiteY52" fmla="*/ 3257526 h 6061990"/>
                <a:gd name="connsiteX53" fmla="*/ 771582 w 9143999"/>
                <a:gd name="connsiteY53" fmla="*/ 3242878 h 6061990"/>
                <a:gd name="connsiteX54" fmla="*/ 774645 w 9143999"/>
                <a:gd name="connsiteY54" fmla="*/ 3234565 h 6061990"/>
                <a:gd name="connsiteX55" fmla="*/ 775083 w 9143999"/>
                <a:gd name="connsiteY55" fmla="*/ 3226251 h 6061990"/>
                <a:gd name="connsiteX56" fmla="*/ 775083 w 9143999"/>
                <a:gd name="connsiteY56" fmla="*/ 3223876 h 6061990"/>
                <a:gd name="connsiteX57" fmla="*/ 778146 w 9143999"/>
                <a:gd name="connsiteY57" fmla="*/ 3218334 h 6061990"/>
                <a:gd name="connsiteX58" fmla="*/ 782085 w 9143999"/>
                <a:gd name="connsiteY58" fmla="*/ 3195374 h 6061990"/>
                <a:gd name="connsiteX59" fmla="*/ 813594 w 9143999"/>
                <a:gd name="connsiteY59" fmla="*/ 3106699 h 6061990"/>
                <a:gd name="connsiteX60" fmla="*/ 890617 w 9143999"/>
                <a:gd name="connsiteY60" fmla="*/ 2926182 h 6061990"/>
                <a:gd name="connsiteX61" fmla="*/ 1156698 w 9143999"/>
                <a:gd name="connsiteY61" fmla="*/ 2565148 h 6061990"/>
                <a:gd name="connsiteX62" fmla="*/ 1576824 w 9143999"/>
                <a:gd name="connsiteY62" fmla="*/ 2254786 h 6061990"/>
                <a:gd name="connsiteX63" fmla="*/ 2077475 w 9143999"/>
                <a:gd name="connsiteY63" fmla="*/ 2055267 h 6061990"/>
                <a:gd name="connsiteX64" fmla="*/ 2560620 w 9143999"/>
                <a:gd name="connsiteY64" fmla="*/ 1947590 h 6061990"/>
                <a:gd name="connsiteX65" fmla="*/ 3005254 w 9143999"/>
                <a:gd name="connsiteY65" fmla="*/ 1890585 h 6061990"/>
                <a:gd name="connsiteX66" fmla="*/ 3404374 w 9143999"/>
                <a:gd name="connsiteY66" fmla="*/ 1852581 h 6061990"/>
                <a:gd name="connsiteX67" fmla="*/ 3754480 w 9143999"/>
                <a:gd name="connsiteY67" fmla="*/ 1814578 h 6061990"/>
                <a:gd name="connsiteX68" fmla="*/ 4006556 w 9143999"/>
                <a:gd name="connsiteY68" fmla="*/ 1763907 h 6061990"/>
                <a:gd name="connsiteX69" fmla="*/ 4083579 w 9143999"/>
                <a:gd name="connsiteY69" fmla="*/ 1738571 h 6061990"/>
                <a:gd name="connsiteX70" fmla="*/ 4136095 w 9143999"/>
                <a:gd name="connsiteY70" fmla="*/ 1713235 h 6061990"/>
                <a:gd name="connsiteX71" fmla="*/ 4178107 w 9143999"/>
                <a:gd name="connsiteY71" fmla="*/ 1672065 h 6061990"/>
                <a:gd name="connsiteX72" fmla="*/ 4209617 w 9143999"/>
                <a:gd name="connsiteY72" fmla="*/ 1605558 h 6061990"/>
                <a:gd name="connsiteX73" fmla="*/ 4227122 w 9143999"/>
                <a:gd name="connsiteY73" fmla="*/ 1513716 h 6061990"/>
                <a:gd name="connsiteX74" fmla="*/ 4227122 w 9143999"/>
                <a:gd name="connsiteY74" fmla="*/ 1505403 h 6061990"/>
                <a:gd name="connsiteX75" fmla="*/ 4227122 w 9143999"/>
                <a:gd name="connsiteY75" fmla="*/ 1495902 h 6061990"/>
                <a:gd name="connsiteX76" fmla="*/ 4227122 w 9143999"/>
                <a:gd name="connsiteY76" fmla="*/ 1482047 h 6061990"/>
                <a:gd name="connsiteX77" fmla="*/ 4223621 w 9143999"/>
                <a:gd name="connsiteY77" fmla="*/ 1463045 h 6061990"/>
                <a:gd name="connsiteX78" fmla="*/ 4192112 w 9143999"/>
                <a:gd name="connsiteY78" fmla="*/ 1409207 h 6061990"/>
                <a:gd name="connsiteX79" fmla="*/ 4118589 w 9143999"/>
                <a:gd name="connsiteY79" fmla="*/ 1342700 h 6061990"/>
                <a:gd name="connsiteX80" fmla="*/ 3884019 w 9143999"/>
                <a:gd name="connsiteY80" fmla="*/ 1203354 h 6061990"/>
                <a:gd name="connsiteX81" fmla="*/ 3582928 w 9143999"/>
                <a:gd name="connsiteY81" fmla="*/ 1076675 h 6061990"/>
                <a:gd name="connsiteX82" fmla="*/ 3253829 w 9143999"/>
                <a:gd name="connsiteY82" fmla="*/ 965832 h 6061990"/>
                <a:gd name="connsiteX83" fmla="*/ 2543115 w 9143999"/>
                <a:gd name="connsiteY83" fmla="*/ 772647 h 6061990"/>
                <a:gd name="connsiteX84" fmla="*/ 1041163 w 9143999"/>
                <a:gd name="connsiteY84" fmla="*/ 468619 h 6061990"/>
                <a:gd name="connsiteX85" fmla="*/ 0 w 9143999"/>
                <a:gd name="connsiteY85" fmla="*/ 304674 h 6061990"/>
                <a:gd name="connsiteX86" fmla="*/ 0 w 9143999"/>
                <a:gd name="connsiteY86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10075 w 9143999"/>
                <a:gd name="connsiteY29" fmla="*/ 3296717 h 6061990"/>
                <a:gd name="connsiteX30" fmla="*/ 2445086 w 9143999"/>
                <a:gd name="connsiteY30" fmla="*/ 3470900 h 6061990"/>
                <a:gd name="connsiteX31" fmla="*/ 2529111 w 9143999"/>
                <a:gd name="connsiteY31" fmla="*/ 3575409 h 6061990"/>
                <a:gd name="connsiteX32" fmla="*/ 2886218 w 9143999"/>
                <a:gd name="connsiteY32" fmla="*/ 3828766 h 6061990"/>
                <a:gd name="connsiteX33" fmla="*/ 3414877 w 9143999"/>
                <a:gd name="connsiteY33" fmla="*/ 4075790 h 6061990"/>
                <a:gd name="connsiteX34" fmla="*/ 4034564 w 9143999"/>
                <a:gd name="connsiteY34" fmla="*/ 4294310 h 6061990"/>
                <a:gd name="connsiteX35" fmla="*/ 4706767 w 9143999"/>
                <a:gd name="connsiteY35" fmla="*/ 4487495 h 6061990"/>
                <a:gd name="connsiteX36" fmla="*/ 6128195 w 9143999"/>
                <a:gd name="connsiteY36" fmla="*/ 4810525 h 6061990"/>
                <a:gd name="connsiteX37" fmla="*/ 7609141 w 9143999"/>
                <a:gd name="connsiteY37" fmla="*/ 5070216 h 6061990"/>
                <a:gd name="connsiteX38" fmla="*/ 9118095 w 9143999"/>
                <a:gd name="connsiteY38" fmla="*/ 5285570 h 6061990"/>
                <a:gd name="connsiteX39" fmla="*/ 9143999 w 9143999"/>
                <a:gd name="connsiteY39" fmla="*/ 5288702 h 6061990"/>
                <a:gd name="connsiteX40" fmla="*/ 9143999 w 9143999"/>
                <a:gd name="connsiteY40" fmla="*/ 6061990 h 6061990"/>
                <a:gd name="connsiteX41" fmla="*/ 4752032 w 9143999"/>
                <a:gd name="connsiteY41" fmla="*/ 6061990 h 6061990"/>
                <a:gd name="connsiteX42" fmla="*/ 3828002 w 9143999"/>
                <a:gd name="connsiteY42" fmla="*/ 5760614 h 6061990"/>
                <a:gd name="connsiteX43" fmla="*/ 3071774 w 9143999"/>
                <a:gd name="connsiteY43" fmla="*/ 5475587 h 6061990"/>
                <a:gd name="connsiteX44" fmla="*/ 2329551 w 9143999"/>
                <a:gd name="connsiteY44" fmla="*/ 5136722 h 6061990"/>
                <a:gd name="connsiteX45" fmla="*/ 1615336 w 9143999"/>
                <a:gd name="connsiteY45" fmla="*/ 4712349 h 6061990"/>
                <a:gd name="connsiteX46" fmla="*/ 1282736 w 9143999"/>
                <a:gd name="connsiteY46" fmla="*/ 4446324 h 6061990"/>
                <a:gd name="connsiteX47" fmla="*/ 992148 w 9143999"/>
                <a:gd name="connsiteY47" fmla="*/ 4123294 h 6061990"/>
                <a:gd name="connsiteX48" fmla="*/ 792588 w 9143999"/>
                <a:gd name="connsiteY48" fmla="*/ 3733758 h 6061990"/>
                <a:gd name="connsiteX49" fmla="*/ 761078 w 9143999"/>
                <a:gd name="connsiteY49" fmla="*/ 3296717 h 6061990"/>
                <a:gd name="connsiteX50" fmla="*/ 764579 w 9143999"/>
                <a:gd name="connsiteY50" fmla="*/ 3271381 h 6061990"/>
                <a:gd name="connsiteX51" fmla="*/ 767643 w 9143999"/>
                <a:gd name="connsiteY51" fmla="*/ 3257526 h 6061990"/>
                <a:gd name="connsiteX52" fmla="*/ 771582 w 9143999"/>
                <a:gd name="connsiteY52" fmla="*/ 3242878 h 6061990"/>
                <a:gd name="connsiteX53" fmla="*/ 774645 w 9143999"/>
                <a:gd name="connsiteY53" fmla="*/ 3234565 h 6061990"/>
                <a:gd name="connsiteX54" fmla="*/ 775083 w 9143999"/>
                <a:gd name="connsiteY54" fmla="*/ 3226251 h 6061990"/>
                <a:gd name="connsiteX55" fmla="*/ 775083 w 9143999"/>
                <a:gd name="connsiteY55" fmla="*/ 3223876 h 6061990"/>
                <a:gd name="connsiteX56" fmla="*/ 778146 w 9143999"/>
                <a:gd name="connsiteY56" fmla="*/ 3218334 h 6061990"/>
                <a:gd name="connsiteX57" fmla="*/ 782085 w 9143999"/>
                <a:gd name="connsiteY57" fmla="*/ 3195374 h 6061990"/>
                <a:gd name="connsiteX58" fmla="*/ 813594 w 9143999"/>
                <a:gd name="connsiteY58" fmla="*/ 3106699 h 6061990"/>
                <a:gd name="connsiteX59" fmla="*/ 890617 w 9143999"/>
                <a:gd name="connsiteY59" fmla="*/ 2926182 h 6061990"/>
                <a:gd name="connsiteX60" fmla="*/ 1156698 w 9143999"/>
                <a:gd name="connsiteY60" fmla="*/ 2565148 h 6061990"/>
                <a:gd name="connsiteX61" fmla="*/ 1576824 w 9143999"/>
                <a:gd name="connsiteY61" fmla="*/ 2254786 h 6061990"/>
                <a:gd name="connsiteX62" fmla="*/ 2077475 w 9143999"/>
                <a:gd name="connsiteY62" fmla="*/ 2055267 h 6061990"/>
                <a:gd name="connsiteX63" fmla="*/ 2560620 w 9143999"/>
                <a:gd name="connsiteY63" fmla="*/ 1947590 h 6061990"/>
                <a:gd name="connsiteX64" fmla="*/ 3005254 w 9143999"/>
                <a:gd name="connsiteY64" fmla="*/ 1890585 h 6061990"/>
                <a:gd name="connsiteX65" fmla="*/ 3404374 w 9143999"/>
                <a:gd name="connsiteY65" fmla="*/ 1852581 h 6061990"/>
                <a:gd name="connsiteX66" fmla="*/ 3754480 w 9143999"/>
                <a:gd name="connsiteY66" fmla="*/ 1814578 h 6061990"/>
                <a:gd name="connsiteX67" fmla="*/ 4006556 w 9143999"/>
                <a:gd name="connsiteY67" fmla="*/ 1763907 h 6061990"/>
                <a:gd name="connsiteX68" fmla="*/ 4083579 w 9143999"/>
                <a:gd name="connsiteY68" fmla="*/ 1738571 h 6061990"/>
                <a:gd name="connsiteX69" fmla="*/ 4136095 w 9143999"/>
                <a:gd name="connsiteY69" fmla="*/ 1713235 h 6061990"/>
                <a:gd name="connsiteX70" fmla="*/ 4178107 w 9143999"/>
                <a:gd name="connsiteY70" fmla="*/ 1672065 h 6061990"/>
                <a:gd name="connsiteX71" fmla="*/ 4209617 w 9143999"/>
                <a:gd name="connsiteY71" fmla="*/ 1605558 h 6061990"/>
                <a:gd name="connsiteX72" fmla="*/ 4227122 w 9143999"/>
                <a:gd name="connsiteY72" fmla="*/ 1513716 h 6061990"/>
                <a:gd name="connsiteX73" fmla="*/ 4227122 w 9143999"/>
                <a:gd name="connsiteY73" fmla="*/ 1505403 h 6061990"/>
                <a:gd name="connsiteX74" fmla="*/ 4227122 w 9143999"/>
                <a:gd name="connsiteY74" fmla="*/ 1495902 h 6061990"/>
                <a:gd name="connsiteX75" fmla="*/ 4227122 w 9143999"/>
                <a:gd name="connsiteY75" fmla="*/ 1482047 h 6061990"/>
                <a:gd name="connsiteX76" fmla="*/ 4223621 w 9143999"/>
                <a:gd name="connsiteY76" fmla="*/ 1463045 h 6061990"/>
                <a:gd name="connsiteX77" fmla="*/ 4192112 w 9143999"/>
                <a:gd name="connsiteY77" fmla="*/ 1409207 h 6061990"/>
                <a:gd name="connsiteX78" fmla="*/ 4118589 w 9143999"/>
                <a:gd name="connsiteY78" fmla="*/ 1342700 h 6061990"/>
                <a:gd name="connsiteX79" fmla="*/ 3884019 w 9143999"/>
                <a:gd name="connsiteY79" fmla="*/ 1203354 h 6061990"/>
                <a:gd name="connsiteX80" fmla="*/ 3582928 w 9143999"/>
                <a:gd name="connsiteY80" fmla="*/ 1076675 h 6061990"/>
                <a:gd name="connsiteX81" fmla="*/ 3253829 w 9143999"/>
                <a:gd name="connsiteY81" fmla="*/ 965832 h 6061990"/>
                <a:gd name="connsiteX82" fmla="*/ 2543115 w 9143999"/>
                <a:gd name="connsiteY82" fmla="*/ 772647 h 6061990"/>
                <a:gd name="connsiteX83" fmla="*/ 1041163 w 9143999"/>
                <a:gd name="connsiteY83" fmla="*/ 468619 h 6061990"/>
                <a:gd name="connsiteX84" fmla="*/ 0 w 9143999"/>
                <a:gd name="connsiteY84" fmla="*/ 304674 h 6061990"/>
                <a:gd name="connsiteX85" fmla="*/ 0 w 9143999"/>
                <a:gd name="connsiteY85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10075 w 9143999"/>
                <a:gd name="connsiteY29" fmla="*/ 3296717 h 6061990"/>
                <a:gd name="connsiteX30" fmla="*/ 2445086 w 9143999"/>
                <a:gd name="connsiteY30" fmla="*/ 3470900 h 6061990"/>
                <a:gd name="connsiteX31" fmla="*/ 2529111 w 9143999"/>
                <a:gd name="connsiteY31" fmla="*/ 3575409 h 6061990"/>
                <a:gd name="connsiteX32" fmla="*/ 2886218 w 9143999"/>
                <a:gd name="connsiteY32" fmla="*/ 3828766 h 6061990"/>
                <a:gd name="connsiteX33" fmla="*/ 3414877 w 9143999"/>
                <a:gd name="connsiteY33" fmla="*/ 4075790 h 6061990"/>
                <a:gd name="connsiteX34" fmla="*/ 4034564 w 9143999"/>
                <a:gd name="connsiteY34" fmla="*/ 4294310 h 6061990"/>
                <a:gd name="connsiteX35" fmla="*/ 4706767 w 9143999"/>
                <a:gd name="connsiteY35" fmla="*/ 4487495 h 6061990"/>
                <a:gd name="connsiteX36" fmla="*/ 6128195 w 9143999"/>
                <a:gd name="connsiteY36" fmla="*/ 4810525 h 6061990"/>
                <a:gd name="connsiteX37" fmla="*/ 7609141 w 9143999"/>
                <a:gd name="connsiteY37" fmla="*/ 5070216 h 6061990"/>
                <a:gd name="connsiteX38" fmla="*/ 9118095 w 9143999"/>
                <a:gd name="connsiteY38" fmla="*/ 5285570 h 6061990"/>
                <a:gd name="connsiteX39" fmla="*/ 9143999 w 9143999"/>
                <a:gd name="connsiteY39" fmla="*/ 5288702 h 6061990"/>
                <a:gd name="connsiteX40" fmla="*/ 9143999 w 9143999"/>
                <a:gd name="connsiteY40" fmla="*/ 6061990 h 6061990"/>
                <a:gd name="connsiteX41" fmla="*/ 4752032 w 9143999"/>
                <a:gd name="connsiteY41" fmla="*/ 6061990 h 6061990"/>
                <a:gd name="connsiteX42" fmla="*/ 3828002 w 9143999"/>
                <a:gd name="connsiteY42" fmla="*/ 5760614 h 6061990"/>
                <a:gd name="connsiteX43" fmla="*/ 3071774 w 9143999"/>
                <a:gd name="connsiteY43" fmla="*/ 5475587 h 6061990"/>
                <a:gd name="connsiteX44" fmla="*/ 2329551 w 9143999"/>
                <a:gd name="connsiteY44" fmla="*/ 5136722 h 6061990"/>
                <a:gd name="connsiteX45" fmla="*/ 1615336 w 9143999"/>
                <a:gd name="connsiteY45" fmla="*/ 4712349 h 6061990"/>
                <a:gd name="connsiteX46" fmla="*/ 1282736 w 9143999"/>
                <a:gd name="connsiteY46" fmla="*/ 4446324 h 6061990"/>
                <a:gd name="connsiteX47" fmla="*/ 992148 w 9143999"/>
                <a:gd name="connsiteY47" fmla="*/ 4123294 h 6061990"/>
                <a:gd name="connsiteX48" fmla="*/ 792588 w 9143999"/>
                <a:gd name="connsiteY48" fmla="*/ 3733758 h 6061990"/>
                <a:gd name="connsiteX49" fmla="*/ 761078 w 9143999"/>
                <a:gd name="connsiteY49" fmla="*/ 3296717 h 6061990"/>
                <a:gd name="connsiteX50" fmla="*/ 764579 w 9143999"/>
                <a:gd name="connsiteY50" fmla="*/ 3271381 h 6061990"/>
                <a:gd name="connsiteX51" fmla="*/ 767643 w 9143999"/>
                <a:gd name="connsiteY51" fmla="*/ 3257526 h 6061990"/>
                <a:gd name="connsiteX52" fmla="*/ 771582 w 9143999"/>
                <a:gd name="connsiteY52" fmla="*/ 3242878 h 6061990"/>
                <a:gd name="connsiteX53" fmla="*/ 774645 w 9143999"/>
                <a:gd name="connsiteY53" fmla="*/ 3234565 h 6061990"/>
                <a:gd name="connsiteX54" fmla="*/ 775083 w 9143999"/>
                <a:gd name="connsiteY54" fmla="*/ 3226251 h 6061990"/>
                <a:gd name="connsiteX55" fmla="*/ 775083 w 9143999"/>
                <a:gd name="connsiteY55" fmla="*/ 3223876 h 6061990"/>
                <a:gd name="connsiteX56" fmla="*/ 778146 w 9143999"/>
                <a:gd name="connsiteY56" fmla="*/ 3218334 h 6061990"/>
                <a:gd name="connsiteX57" fmla="*/ 782085 w 9143999"/>
                <a:gd name="connsiteY57" fmla="*/ 3195374 h 6061990"/>
                <a:gd name="connsiteX58" fmla="*/ 813594 w 9143999"/>
                <a:gd name="connsiteY58" fmla="*/ 3106699 h 6061990"/>
                <a:gd name="connsiteX59" fmla="*/ 890617 w 9143999"/>
                <a:gd name="connsiteY59" fmla="*/ 2926182 h 6061990"/>
                <a:gd name="connsiteX60" fmla="*/ 1156698 w 9143999"/>
                <a:gd name="connsiteY60" fmla="*/ 2565148 h 6061990"/>
                <a:gd name="connsiteX61" fmla="*/ 1576824 w 9143999"/>
                <a:gd name="connsiteY61" fmla="*/ 2254786 h 6061990"/>
                <a:gd name="connsiteX62" fmla="*/ 2077475 w 9143999"/>
                <a:gd name="connsiteY62" fmla="*/ 2055267 h 6061990"/>
                <a:gd name="connsiteX63" fmla="*/ 2560620 w 9143999"/>
                <a:gd name="connsiteY63" fmla="*/ 1947590 h 6061990"/>
                <a:gd name="connsiteX64" fmla="*/ 3005254 w 9143999"/>
                <a:gd name="connsiteY64" fmla="*/ 1890585 h 6061990"/>
                <a:gd name="connsiteX65" fmla="*/ 3404374 w 9143999"/>
                <a:gd name="connsiteY65" fmla="*/ 1852581 h 6061990"/>
                <a:gd name="connsiteX66" fmla="*/ 3754480 w 9143999"/>
                <a:gd name="connsiteY66" fmla="*/ 1814578 h 6061990"/>
                <a:gd name="connsiteX67" fmla="*/ 4006556 w 9143999"/>
                <a:gd name="connsiteY67" fmla="*/ 1763907 h 6061990"/>
                <a:gd name="connsiteX68" fmla="*/ 4083579 w 9143999"/>
                <a:gd name="connsiteY68" fmla="*/ 1738571 h 6061990"/>
                <a:gd name="connsiteX69" fmla="*/ 4136095 w 9143999"/>
                <a:gd name="connsiteY69" fmla="*/ 1713235 h 6061990"/>
                <a:gd name="connsiteX70" fmla="*/ 4178107 w 9143999"/>
                <a:gd name="connsiteY70" fmla="*/ 1672065 h 6061990"/>
                <a:gd name="connsiteX71" fmla="*/ 4209617 w 9143999"/>
                <a:gd name="connsiteY71" fmla="*/ 1605558 h 6061990"/>
                <a:gd name="connsiteX72" fmla="*/ 4227122 w 9143999"/>
                <a:gd name="connsiteY72" fmla="*/ 1513716 h 6061990"/>
                <a:gd name="connsiteX73" fmla="*/ 4227122 w 9143999"/>
                <a:gd name="connsiteY73" fmla="*/ 1505403 h 6061990"/>
                <a:gd name="connsiteX74" fmla="*/ 4227122 w 9143999"/>
                <a:gd name="connsiteY74" fmla="*/ 1495902 h 6061990"/>
                <a:gd name="connsiteX75" fmla="*/ 4227122 w 9143999"/>
                <a:gd name="connsiteY75" fmla="*/ 1482047 h 6061990"/>
                <a:gd name="connsiteX76" fmla="*/ 4223621 w 9143999"/>
                <a:gd name="connsiteY76" fmla="*/ 1463045 h 6061990"/>
                <a:gd name="connsiteX77" fmla="*/ 4192112 w 9143999"/>
                <a:gd name="connsiteY77" fmla="*/ 1409207 h 6061990"/>
                <a:gd name="connsiteX78" fmla="*/ 4118589 w 9143999"/>
                <a:gd name="connsiteY78" fmla="*/ 1342700 h 6061990"/>
                <a:gd name="connsiteX79" fmla="*/ 3884019 w 9143999"/>
                <a:gd name="connsiteY79" fmla="*/ 1203354 h 6061990"/>
                <a:gd name="connsiteX80" fmla="*/ 3582928 w 9143999"/>
                <a:gd name="connsiteY80" fmla="*/ 1076675 h 6061990"/>
                <a:gd name="connsiteX81" fmla="*/ 3253829 w 9143999"/>
                <a:gd name="connsiteY81" fmla="*/ 965832 h 6061990"/>
                <a:gd name="connsiteX82" fmla="*/ 2543115 w 9143999"/>
                <a:gd name="connsiteY82" fmla="*/ 772647 h 6061990"/>
                <a:gd name="connsiteX83" fmla="*/ 1041163 w 9143999"/>
                <a:gd name="connsiteY83" fmla="*/ 468619 h 6061990"/>
                <a:gd name="connsiteX84" fmla="*/ 0 w 9143999"/>
                <a:gd name="connsiteY84" fmla="*/ 304674 h 6061990"/>
                <a:gd name="connsiteX85" fmla="*/ 0 w 9143999"/>
                <a:gd name="connsiteY85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45086 w 9143999"/>
                <a:gd name="connsiteY29" fmla="*/ 3470900 h 6061990"/>
                <a:gd name="connsiteX30" fmla="*/ 2529111 w 9143999"/>
                <a:gd name="connsiteY30" fmla="*/ 3575409 h 6061990"/>
                <a:gd name="connsiteX31" fmla="*/ 2886218 w 9143999"/>
                <a:gd name="connsiteY31" fmla="*/ 3828766 h 6061990"/>
                <a:gd name="connsiteX32" fmla="*/ 3414877 w 9143999"/>
                <a:gd name="connsiteY32" fmla="*/ 4075790 h 6061990"/>
                <a:gd name="connsiteX33" fmla="*/ 4034564 w 9143999"/>
                <a:gd name="connsiteY33" fmla="*/ 4294310 h 6061990"/>
                <a:gd name="connsiteX34" fmla="*/ 4706767 w 9143999"/>
                <a:gd name="connsiteY34" fmla="*/ 4487495 h 6061990"/>
                <a:gd name="connsiteX35" fmla="*/ 6128195 w 9143999"/>
                <a:gd name="connsiteY35" fmla="*/ 4810525 h 6061990"/>
                <a:gd name="connsiteX36" fmla="*/ 7609141 w 9143999"/>
                <a:gd name="connsiteY36" fmla="*/ 5070216 h 6061990"/>
                <a:gd name="connsiteX37" fmla="*/ 9118095 w 9143999"/>
                <a:gd name="connsiteY37" fmla="*/ 5285570 h 6061990"/>
                <a:gd name="connsiteX38" fmla="*/ 9143999 w 9143999"/>
                <a:gd name="connsiteY38" fmla="*/ 5288702 h 6061990"/>
                <a:gd name="connsiteX39" fmla="*/ 9143999 w 9143999"/>
                <a:gd name="connsiteY39" fmla="*/ 6061990 h 6061990"/>
                <a:gd name="connsiteX40" fmla="*/ 4752032 w 9143999"/>
                <a:gd name="connsiteY40" fmla="*/ 6061990 h 6061990"/>
                <a:gd name="connsiteX41" fmla="*/ 3828002 w 9143999"/>
                <a:gd name="connsiteY41" fmla="*/ 5760614 h 6061990"/>
                <a:gd name="connsiteX42" fmla="*/ 3071774 w 9143999"/>
                <a:gd name="connsiteY42" fmla="*/ 5475587 h 6061990"/>
                <a:gd name="connsiteX43" fmla="*/ 2329551 w 9143999"/>
                <a:gd name="connsiteY43" fmla="*/ 5136722 h 6061990"/>
                <a:gd name="connsiteX44" fmla="*/ 1615336 w 9143999"/>
                <a:gd name="connsiteY44" fmla="*/ 4712349 h 6061990"/>
                <a:gd name="connsiteX45" fmla="*/ 1282736 w 9143999"/>
                <a:gd name="connsiteY45" fmla="*/ 4446324 h 6061990"/>
                <a:gd name="connsiteX46" fmla="*/ 992148 w 9143999"/>
                <a:gd name="connsiteY46" fmla="*/ 4123294 h 6061990"/>
                <a:gd name="connsiteX47" fmla="*/ 792588 w 9143999"/>
                <a:gd name="connsiteY47" fmla="*/ 3733758 h 6061990"/>
                <a:gd name="connsiteX48" fmla="*/ 761078 w 9143999"/>
                <a:gd name="connsiteY48" fmla="*/ 3296717 h 6061990"/>
                <a:gd name="connsiteX49" fmla="*/ 764579 w 9143999"/>
                <a:gd name="connsiteY49" fmla="*/ 3271381 h 6061990"/>
                <a:gd name="connsiteX50" fmla="*/ 767643 w 9143999"/>
                <a:gd name="connsiteY50" fmla="*/ 3257526 h 6061990"/>
                <a:gd name="connsiteX51" fmla="*/ 771582 w 9143999"/>
                <a:gd name="connsiteY51" fmla="*/ 3242878 h 6061990"/>
                <a:gd name="connsiteX52" fmla="*/ 774645 w 9143999"/>
                <a:gd name="connsiteY52" fmla="*/ 3234565 h 6061990"/>
                <a:gd name="connsiteX53" fmla="*/ 775083 w 9143999"/>
                <a:gd name="connsiteY53" fmla="*/ 3226251 h 6061990"/>
                <a:gd name="connsiteX54" fmla="*/ 775083 w 9143999"/>
                <a:gd name="connsiteY54" fmla="*/ 3223876 h 6061990"/>
                <a:gd name="connsiteX55" fmla="*/ 778146 w 9143999"/>
                <a:gd name="connsiteY55" fmla="*/ 3218334 h 6061990"/>
                <a:gd name="connsiteX56" fmla="*/ 782085 w 9143999"/>
                <a:gd name="connsiteY56" fmla="*/ 3195374 h 6061990"/>
                <a:gd name="connsiteX57" fmla="*/ 813594 w 9143999"/>
                <a:gd name="connsiteY57" fmla="*/ 3106699 h 6061990"/>
                <a:gd name="connsiteX58" fmla="*/ 890617 w 9143999"/>
                <a:gd name="connsiteY58" fmla="*/ 2926182 h 6061990"/>
                <a:gd name="connsiteX59" fmla="*/ 1156698 w 9143999"/>
                <a:gd name="connsiteY59" fmla="*/ 2565148 h 6061990"/>
                <a:gd name="connsiteX60" fmla="*/ 1576824 w 9143999"/>
                <a:gd name="connsiteY60" fmla="*/ 2254786 h 6061990"/>
                <a:gd name="connsiteX61" fmla="*/ 2077475 w 9143999"/>
                <a:gd name="connsiteY61" fmla="*/ 2055267 h 6061990"/>
                <a:gd name="connsiteX62" fmla="*/ 2560620 w 9143999"/>
                <a:gd name="connsiteY62" fmla="*/ 1947590 h 6061990"/>
                <a:gd name="connsiteX63" fmla="*/ 3005254 w 9143999"/>
                <a:gd name="connsiteY63" fmla="*/ 1890585 h 6061990"/>
                <a:gd name="connsiteX64" fmla="*/ 3404374 w 9143999"/>
                <a:gd name="connsiteY64" fmla="*/ 1852581 h 6061990"/>
                <a:gd name="connsiteX65" fmla="*/ 3754480 w 9143999"/>
                <a:gd name="connsiteY65" fmla="*/ 1814578 h 6061990"/>
                <a:gd name="connsiteX66" fmla="*/ 4006556 w 9143999"/>
                <a:gd name="connsiteY66" fmla="*/ 1763907 h 6061990"/>
                <a:gd name="connsiteX67" fmla="*/ 4083579 w 9143999"/>
                <a:gd name="connsiteY67" fmla="*/ 1738571 h 6061990"/>
                <a:gd name="connsiteX68" fmla="*/ 4136095 w 9143999"/>
                <a:gd name="connsiteY68" fmla="*/ 1713235 h 6061990"/>
                <a:gd name="connsiteX69" fmla="*/ 4178107 w 9143999"/>
                <a:gd name="connsiteY69" fmla="*/ 1672065 h 6061990"/>
                <a:gd name="connsiteX70" fmla="*/ 4209617 w 9143999"/>
                <a:gd name="connsiteY70" fmla="*/ 1605558 h 6061990"/>
                <a:gd name="connsiteX71" fmla="*/ 4227122 w 9143999"/>
                <a:gd name="connsiteY71" fmla="*/ 1513716 h 6061990"/>
                <a:gd name="connsiteX72" fmla="*/ 4227122 w 9143999"/>
                <a:gd name="connsiteY72" fmla="*/ 1505403 h 6061990"/>
                <a:gd name="connsiteX73" fmla="*/ 4227122 w 9143999"/>
                <a:gd name="connsiteY73" fmla="*/ 1495902 h 6061990"/>
                <a:gd name="connsiteX74" fmla="*/ 4227122 w 9143999"/>
                <a:gd name="connsiteY74" fmla="*/ 1482047 h 6061990"/>
                <a:gd name="connsiteX75" fmla="*/ 4223621 w 9143999"/>
                <a:gd name="connsiteY75" fmla="*/ 1463045 h 6061990"/>
                <a:gd name="connsiteX76" fmla="*/ 4192112 w 9143999"/>
                <a:gd name="connsiteY76" fmla="*/ 1409207 h 6061990"/>
                <a:gd name="connsiteX77" fmla="*/ 4118589 w 9143999"/>
                <a:gd name="connsiteY77" fmla="*/ 1342700 h 6061990"/>
                <a:gd name="connsiteX78" fmla="*/ 3884019 w 9143999"/>
                <a:gd name="connsiteY78" fmla="*/ 1203354 h 6061990"/>
                <a:gd name="connsiteX79" fmla="*/ 3582928 w 9143999"/>
                <a:gd name="connsiteY79" fmla="*/ 1076675 h 6061990"/>
                <a:gd name="connsiteX80" fmla="*/ 3253829 w 9143999"/>
                <a:gd name="connsiteY80" fmla="*/ 965832 h 6061990"/>
                <a:gd name="connsiteX81" fmla="*/ 2543115 w 9143999"/>
                <a:gd name="connsiteY81" fmla="*/ 772647 h 6061990"/>
                <a:gd name="connsiteX82" fmla="*/ 1041163 w 9143999"/>
                <a:gd name="connsiteY82" fmla="*/ 468619 h 6061990"/>
                <a:gd name="connsiteX83" fmla="*/ 0 w 9143999"/>
                <a:gd name="connsiteY83" fmla="*/ 304674 h 6061990"/>
                <a:gd name="connsiteX84" fmla="*/ 0 w 9143999"/>
                <a:gd name="connsiteY84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45086 w 9143999"/>
                <a:gd name="connsiteY29" fmla="*/ 3470900 h 6061990"/>
                <a:gd name="connsiteX30" fmla="*/ 2529111 w 9143999"/>
                <a:gd name="connsiteY30" fmla="*/ 3575409 h 6061990"/>
                <a:gd name="connsiteX31" fmla="*/ 2886218 w 9143999"/>
                <a:gd name="connsiteY31" fmla="*/ 3828766 h 6061990"/>
                <a:gd name="connsiteX32" fmla="*/ 3414877 w 9143999"/>
                <a:gd name="connsiteY32" fmla="*/ 4075790 h 6061990"/>
                <a:gd name="connsiteX33" fmla="*/ 4034564 w 9143999"/>
                <a:gd name="connsiteY33" fmla="*/ 4294310 h 6061990"/>
                <a:gd name="connsiteX34" fmla="*/ 4706767 w 9143999"/>
                <a:gd name="connsiteY34" fmla="*/ 4487495 h 6061990"/>
                <a:gd name="connsiteX35" fmla="*/ 6128195 w 9143999"/>
                <a:gd name="connsiteY35" fmla="*/ 4810525 h 6061990"/>
                <a:gd name="connsiteX36" fmla="*/ 7609141 w 9143999"/>
                <a:gd name="connsiteY36" fmla="*/ 5070216 h 6061990"/>
                <a:gd name="connsiteX37" fmla="*/ 9118095 w 9143999"/>
                <a:gd name="connsiteY37" fmla="*/ 5285570 h 6061990"/>
                <a:gd name="connsiteX38" fmla="*/ 9143999 w 9143999"/>
                <a:gd name="connsiteY38" fmla="*/ 5288702 h 6061990"/>
                <a:gd name="connsiteX39" fmla="*/ 9143999 w 9143999"/>
                <a:gd name="connsiteY39" fmla="*/ 6061990 h 6061990"/>
                <a:gd name="connsiteX40" fmla="*/ 4752032 w 9143999"/>
                <a:gd name="connsiteY40" fmla="*/ 6061990 h 6061990"/>
                <a:gd name="connsiteX41" fmla="*/ 3828002 w 9143999"/>
                <a:gd name="connsiteY41" fmla="*/ 5760614 h 6061990"/>
                <a:gd name="connsiteX42" fmla="*/ 3071774 w 9143999"/>
                <a:gd name="connsiteY42" fmla="*/ 5475587 h 6061990"/>
                <a:gd name="connsiteX43" fmla="*/ 2329551 w 9143999"/>
                <a:gd name="connsiteY43" fmla="*/ 5136722 h 6061990"/>
                <a:gd name="connsiteX44" fmla="*/ 1615336 w 9143999"/>
                <a:gd name="connsiteY44" fmla="*/ 4712349 h 6061990"/>
                <a:gd name="connsiteX45" fmla="*/ 1282736 w 9143999"/>
                <a:gd name="connsiteY45" fmla="*/ 4446324 h 6061990"/>
                <a:gd name="connsiteX46" fmla="*/ 992148 w 9143999"/>
                <a:gd name="connsiteY46" fmla="*/ 4123294 h 6061990"/>
                <a:gd name="connsiteX47" fmla="*/ 792588 w 9143999"/>
                <a:gd name="connsiteY47" fmla="*/ 3733758 h 6061990"/>
                <a:gd name="connsiteX48" fmla="*/ 761078 w 9143999"/>
                <a:gd name="connsiteY48" fmla="*/ 3296717 h 6061990"/>
                <a:gd name="connsiteX49" fmla="*/ 764579 w 9143999"/>
                <a:gd name="connsiteY49" fmla="*/ 3271381 h 6061990"/>
                <a:gd name="connsiteX50" fmla="*/ 767643 w 9143999"/>
                <a:gd name="connsiteY50" fmla="*/ 3257526 h 6061990"/>
                <a:gd name="connsiteX51" fmla="*/ 771582 w 9143999"/>
                <a:gd name="connsiteY51" fmla="*/ 3242878 h 6061990"/>
                <a:gd name="connsiteX52" fmla="*/ 774645 w 9143999"/>
                <a:gd name="connsiteY52" fmla="*/ 3234565 h 6061990"/>
                <a:gd name="connsiteX53" fmla="*/ 775083 w 9143999"/>
                <a:gd name="connsiteY53" fmla="*/ 3226251 h 6061990"/>
                <a:gd name="connsiteX54" fmla="*/ 775083 w 9143999"/>
                <a:gd name="connsiteY54" fmla="*/ 3223876 h 6061990"/>
                <a:gd name="connsiteX55" fmla="*/ 778146 w 9143999"/>
                <a:gd name="connsiteY55" fmla="*/ 3218334 h 6061990"/>
                <a:gd name="connsiteX56" fmla="*/ 782085 w 9143999"/>
                <a:gd name="connsiteY56" fmla="*/ 3195374 h 6061990"/>
                <a:gd name="connsiteX57" fmla="*/ 813594 w 9143999"/>
                <a:gd name="connsiteY57" fmla="*/ 3106699 h 6061990"/>
                <a:gd name="connsiteX58" fmla="*/ 890617 w 9143999"/>
                <a:gd name="connsiteY58" fmla="*/ 2926182 h 6061990"/>
                <a:gd name="connsiteX59" fmla="*/ 1156698 w 9143999"/>
                <a:gd name="connsiteY59" fmla="*/ 2565148 h 6061990"/>
                <a:gd name="connsiteX60" fmla="*/ 1576824 w 9143999"/>
                <a:gd name="connsiteY60" fmla="*/ 2254786 h 6061990"/>
                <a:gd name="connsiteX61" fmla="*/ 2077475 w 9143999"/>
                <a:gd name="connsiteY61" fmla="*/ 2055267 h 6061990"/>
                <a:gd name="connsiteX62" fmla="*/ 2560620 w 9143999"/>
                <a:gd name="connsiteY62" fmla="*/ 1947590 h 6061990"/>
                <a:gd name="connsiteX63" fmla="*/ 3005254 w 9143999"/>
                <a:gd name="connsiteY63" fmla="*/ 1890585 h 6061990"/>
                <a:gd name="connsiteX64" fmla="*/ 3404374 w 9143999"/>
                <a:gd name="connsiteY64" fmla="*/ 1852581 h 6061990"/>
                <a:gd name="connsiteX65" fmla="*/ 3754480 w 9143999"/>
                <a:gd name="connsiteY65" fmla="*/ 1814578 h 6061990"/>
                <a:gd name="connsiteX66" fmla="*/ 4006556 w 9143999"/>
                <a:gd name="connsiteY66" fmla="*/ 1763907 h 6061990"/>
                <a:gd name="connsiteX67" fmla="*/ 4083579 w 9143999"/>
                <a:gd name="connsiteY67" fmla="*/ 1738571 h 6061990"/>
                <a:gd name="connsiteX68" fmla="*/ 4136095 w 9143999"/>
                <a:gd name="connsiteY68" fmla="*/ 1713235 h 6061990"/>
                <a:gd name="connsiteX69" fmla="*/ 4178107 w 9143999"/>
                <a:gd name="connsiteY69" fmla="*/ 1672065 h 6061990"/>
                <a:gd name="connsiteX70" fmla="*/ 4209617 w 9143999"/>
                <a:gd name="connsiteY70" fmla="*/ 1605558 h 6061990"/>
                <a:gd name="connsiteX71" fmla="*/ 4227122 w 9143999"/>
                <a:gd name="connsiteY71" fmla="*/ 1513716 h 6061990"/>
                <a:gd name="connsiteX72" fmla="*/ 4227122 w 9143999"/>
                <a:gd name="connsiteY72" fmla="*/ 1505403 h 6061990"/>
                <a:gd name="connsiteX73" fmla="*/ 4227122 w 9143999"/>
                <a:gd name="connsiteY73" fmla="*/ 1495902 h 6061990"/>
                <a:gd name="connsiteX74" fmla="*/ 4227122 w 9143999"/>
                <a:gd name="connsiteY74" fmla="*/ 1482047 h 6061990"/>
                <a:gd name="connsiteX75" fmla="*/ 4223621 w 9143999"/>
                <a:gd name="connsiteY75" fmla="*/ 1463045 h 6061990"/>
                <a:gd name="connsiteX76" fmla="*/ 4192112 w 9143999"/>
                <a:gd name="connsiteY76" fmla="*/ 1409207 h 6061990"/>
                <a:gd name="connsiteX77" fmla="*/ 4118589 w 9143999"/>
                <a:gd name="connsiteY77" fmla="*/ 1342700 h 6061990"/>
                <a:gd name="connsiteX78" fmla="*/ 3884019 w 9143999"/>
                <a:gd name="connsiteY78" fmla="*/ 1203354 h 6061990"/>
                <a:gd name="connsiteX79" fmla="*/ 3582928 w 9143999"/>
                <a:gd name="connsiteY79" fmla="*/ 1076675 h 6061990"/>
                <a:gd name="connsiteX80" fmla="*/ 3253829 w 9143999"/>
                <a:gd name="connsiteY80" fmla="*/ 965832 h 6061990"/>
                <a:gd name="connsiteX81" fmla="*/ 2543115 w 9143999"/>
                <a:gd name="connsiteY81" fmla="*/ 772647 h 6061990"/>
                <a:gd name="connsiteX82" fmla="*/ 1041163 w 9143999"/>
                <a:gd name="connsiteY82" fmla="*/ 468619 h 6061990"/>
                <a:gd name="connsiteX83" fmla="*/ 0 w 9143999"/>
                <a:gd name="connsiteY83" fmla="*/ 304674 h 6061990"/>
                <a:gd name="connsiteX84" fmla="*/ 0 w 9143999"/>
                <a:gd name="connsiteY84" fmla="*/ 0 h 6061990"/>
                <a:gd name="connsiteX0" fmla="*/ 0 w 9143999"/>
                <a:gd name="connsiteY0" fmla="*/ 0 h 6061990"/>
                <a:gd name="connsiteX1" fmla="*/ 1153197 w 9143999"/>
                <a:gd name="connsiteY1" fmla="*/ 113919 h 6061990"/>
                <a:gd name="connsiteX2" fmla="*/ 2742675 w 9143999"/>
                <a:gd name="connsiteY2" fmla="*/ 338773 h 6061990"/>
                <a:gd name="connsiteX3" fmla="*/ 3537414 w 9143999"/>
                <a:gd name="connsiteY3" fmla="*/ 500288 h 6061990"/>
                <a:gd name="connsiteX4" fmla="*/ 3933033 w 9143999"/>
                <a:gd name="connsiteY4" fmla="*/ 607965 h 6061990"/>
                <a:gd name="connsiteX5" fmla="*/ 4328653 w 9143999"/>
                <a:gd name="connsiteY5" fmla="*/ 747311 h 6061990"/>
                <a:gd name="connsiteX6" fmla="*/ 4717270 w 9143999"/>
                <a:gd name="connsiteY6" fmla="*/ 940496 h 6061990"/>
                <a:gd name="connsiteX7" fmla="*/ 4902826 w 9143999"/>
                <a:gd name="connsiteY7" fmla="*/ 1079842 h 6061990"/>
                <a:gd name="connsiteX8" fmla="*/ 5053371 w 9143999"/>
                <a:gd name="connsiteY8" fmla="*/ 1260359 h 6061990"/>
                <a:gd name="connsiteX9" fmla="*/ 5102386 w 9143999"/>
                <a:gd name="connsiteY9" fmla="*/ 1371203 h 6061990"/>
                <a:gd name="connsiteX10" fmla="*/ 5116390 w 9143999"/>
                <a:gd name="connsiteY10" fmla="*/ 1428208 h 6061990"/>
                <a:gd name="connsiteX11" fmla="*/ 5116390 w 9143999"/>
                <a:gd name="connsiteY11" fmla="*/ 1434542 h 6061990"/>
                <a:gd name="connsiteX12" fmla="*/ 5119454 w 9143999"/>
                <a:gd name="connsiteY12" fmla="*/ 1440084 h 6061990"/>
                <a:gd name="connsiteX13" fmla="*/ 5119891 w 9143999"/>
                <a:gd name="connsiteY13" fmla="*/ 1446418 h 6061990"/>
                <a:gd name="connsiteX14" fmla="*/ 5126893 w 9143999"/>
                <a:gd name="connsiteY14" fmla="*/ 1472546 h 6061990"/>
                <a:gd name="connsiteX15" fmla="*/ 5144398 w 9143999"/>
                <a:gd name="connsiteY15" fmla="*/ 1646729 h 6061990"/>
                <a:gd name="connsiteX16" fmla="*/ 5112889 w 9143999"/>
                <a:gd name="connsiteY16" fmla="*/ 1843081 h 6061990"/>
                <a:gd name="connsiteX17" fmla="*/ 5000855 w 9143999"/>
                <a:gd name="connsiteY17" fmla="*/ 2048933 h 6061990"/>
                <a:gd name="connsiteX18" fmla="*/ 4808297 w 9143999"/>
                <a:gd name="connsiteY18" fmla="*/ 2235784 h 6061990"/>
                <a:gd name="connsiteX19" fmla="*/ 4570225 w 9143999"/>
                <a:gd name="connsiteY19" fmla="*/ 2371963 h 6061990"/>
                <a:gd name="connsiteX20" fmla="*/ 4325152 w 9143999"/>
                <a:gd name="connsiteY20" fmla="*/ 2470139 h 6061990"/>
                <a:gd name="connsiteX21" fmla="*/ 4094082 w 9143999"/>
                <a:gd name="connsiteY21" fmla="*/ 2536645 h 6061990"/>
                <a:gd name="connsiteX22" fmla="*/ 3670454 w 9143999"/>
                <a:gd name="connsiteY22" fmla="*/ 2634821 h 6061990"/>
                <a:gd name="connsiteX23" fmla="*/ 3292341 w 9143999"/>
                <a:gd name="connsiteY23" fmla="*/ 2713995 h 6061990"/>
                <a:gd name="connsiteX24" fmla="*/ 2966743 w 9143999"/>
                <a:gd name="connsiteY24" fmla="*/ 2796336 h 6061990"/>
                <a:gd name="connsiteX25" fmla="*/ 2711166 w 9143999"/>
                <a:gd name="connsiteY25" fmla="*/ 2888178 h 6061990"/>
                <a:gd name="connsiteX26" fmla="*/ 2550117 w 9143999"/>
                <a:gd name="connsiteY26" fmla="*/ 2986354 h 6061990"/>
                <a:gd name="connsiteX27" fmla="*/ 2466092 w 9143999"/>
                <a:gd name="connsiteY27" fmla="*/ 3087697 h 6061990"/>
                <a:gd name="connsiteX28" fmla="*/ 2420578 w 9143999"/>
                <a:gd name="connsiteY28" fmla="*/ 3217543 h 6061990"/>
                <a:gd name="connsiteX29" fmla="*/ 2445086 w 9143999"/>
                <a:gd name="connsiteY29" fmla="*/ 3470900 h 6061990"/>
                <a:gd name="connsiteX30" fmla="*/ 2529111 w 9143999"/>
                <a:gd name="connsiteY30" fmla="*/ 3575409 h 6061990"/>
                <a:gd name="connsiteX31" fmla="*/ 2886218 w 9143999"/>
                <a:gd name="connsiteY31" fmla="*/ 3828766 h 6061990"/>
                <a:gd name="connsiteX32" fmla="*/ 3414877 w 9143999"/>
                <a:gd name="connsiteY32" fmla="*/ 4075790 h 6061990"/>
                <a:gd name="connsiteX33" fmla="*/ 4034564 w 9143999"/>
                <a:gd name="connsiteY33" fmla="*/ 4294310 h 6061990"/>
                <a:gd name="connsiteX34" fmla="*/ 4706767 w 9143999"/>
                <a:gd name="connsiteY34" fmla="*/ 4487495 h 6061990"/>
                <a:gd name="connsiteX35" fmla="*/ 6128195 w 9143999"/>
                <a:gd name="connsiteY35" fmla="*/ 4810525 h 6061990"/>
                <a:gd name="connsiteX36" fmla="*/ 7609141 w 9143999"/>
                <a:gd name="connsiteY36" fmla="*/ 5070216 h 6061990"/>
                <a:gd name="connsiteX37" fmla="*/ 9118095 w 9143999"/>
                <a:gd name="connsiteY37" fmla="*/ 5285570 h 6061990"/>
                <a:gd name="connsiteX38" fmla="*/ 9143999 w 9143999"/>
                <a:gd name="connsiteY38" fmla="*/ 5288702 h 6061990"/>
                <a:gd name="connsiteX39" fmla="*/ 9143999 w 9143999"/>
                <a:gd name="connsiteY39" fmla="*/ 6061990 h 6061990"/>
                <a:gd name="connsiteX40" fmla="*/ 4752032 w 9143999"/>
                <a:gd name="connsiteY40" fmla="*/ 6061990 h 6061990"/>
                <a:gd name="connsiteX41" fmla="*/ 3828002 w 9143999"/>
                <a:gd name="connsiteY41" fmla="*/ 5760614 h 6061990"/>
                <a:gd name="connsiteX42" fmla="*/ 3071774 w 9143999"/>
                <a:gd name="connsiteY42" fmla="*/ 5475587 h 6061990"/>
                <a:gd name="connsiteX43" fmla="*/ 2329551 w 9143999"/>
                <a:gd name="connsiteY43" fmla="*/ 5136722 h 6061990"/>
                <a:gd name="connsiteX44" fmla="*/ 1615336 w 9143999"/>
                <a:gd name="connsiteY44" fmla="*/ 4712349 h 6061990"/>
                <a:gd name="connsiteX45" fmla="*/ 1282736 w 9143999"/>
                <a:gd name="connsiteY45" fmla="*/ 4446324 h 6061990"/>
                <a:gd name="connsiteX46" fmla="*/ 992148 w 9143999"/>
                <a:gd name="connsiteY46" fmla="*/ 4123294 h 6061990"/>
                <a:gd name="connsiteX47" fmla="*/ 792588 w 9143999"/>
                <a:gd name="connsiteY47" fmla="*/ 3733758 h 6061990"/>
                <a:gd name="connsiteX48" fmla="*/ 761078 w 9143999"/>
                <a:gd name="connsiteY48" fmla="*/ 3296717 h 6061990"/>
                <a:gd name="connsiteX49" fmla="*/ 764579 w 9143999"/>
                <a:gd name="connsiteY49" fmla="*/ 3271381 h 6061990"/>
                <a:gd name="connsiteX50" fmla="*/ 767643 w 9143999"/>
                <a:gd name="connsiteY50" fmla="*/ 3257526 h 6061990"/>
                <a:gd name="connsiteX51" fmla="*/ 771582 w 9143999"/>
                <a:gd name="connsiteY51" fmla="*/ 3242878 h 6061990"/>
                <a:gd name="connsiteX52" fmla="*/ 774645 w 9143999"/>
                <a:gd name="connsiteY52" fmla="*/ 3234565 h 6061990"/>
                <a:gd name="connsiteX53" fmla="*/ 775083 w 9143999"/>
                <a:gd name="connsiteY53" fmla="*/ 3226251 h 6061990"/>
                <a:gd name="connsiteX54" fmla="*/ 775083 w 9143999"/>
                <a:gd name="connsiteY54" fmla="*/ 3223876 h 6061990"/>
                <a:gd name="connsiteX55" fmla="*/ 778146 w 9143999"/>
                <a:gd name="connsiteY55" fmla="*/ 3218334 h 6061990"/>
                <a:gd name="connsiteX56" fmla="*/ 782085 w 9143999"/>
                <a:gd name="connsiteY56" fmla="*/ 3195374 h 6061990"/>
                <a:gd name="connsiteX57" fmla="*/ 813594 w 9143999"/>
                <a:gd name="connsiteY57" fmla="*/ 3106699 h 6061990"/>
                <a:gd name="connsiteX58" fmla="*/ 890617 w 9143999"/>
                <a:gd name="connsiteY58" fmla="*/ 2926182 h 6061990"/>
                <a:gd name="connsiteX59" fmla="*/ 1156698 w 9143999"/>
                <a:gd name="connsiteY59" fmla="*/ 2565148 h 6061990"/>
                <a:gd name="connsiteX60" fmla="*/ 1576824 w 9143999"/>
                <a:gd name="connsiteY60" fmla="*/ 2254786 h 6061990"/>
                <a:gd name="connsiteX61" fmla="*/ 2077475 w 9143999"/>
                <a:gd name="connsiteY61" fmla="*/ 2055267 h 6061990"/>
                <a:gd name="connsiteX62" fmla="*/ 2560620 w 9143999"/>
                <a:gd name="connsiteY62" fmla="*/ 1947590 h 6061990"/>
                <a:gd name="connsiteX63" fmla="*/ 3005254 w 9143999"/>
                <a:gd name="connsiteY63" fmla="*/ 1890585 h 6061990"/>
                <a:gd name="connsiteX64" fmla="*/ 3404374 w 9143999"/>
                <a:gd name="connsiteY64" fmla="*/ 1852581 h 6061990"/>
                <a:gd name="connsiteX65" fmla="*/ 3754480 w 9143999"/>
                <a:gd name="connsiteY65" fmla="*/ 1814578 h 6061990"/>
                <a:gd name="connsiteX66" fmla="*/ 4006556 w 9143999"/>
                <a:gd name="connsiteY66" fmla="*/ 1763907 h 6061990"/>
                <a:gd name="connsiteX67" fmla="*/ 4083579 w 9143999"/>
                <a:gd name="connsiteY67" fmla="*/ 1738571 h 6061990"/>
                <a:gd name="connsiteX68" fmla="*/ 4136095 w 9143999"/>
                <a:gd name="connsiteY68" fmla="*/ 1713235 h 6061990"/>
                <a:gd name="connsiteX69" fmla="*/ 4178107 w 9143999"/>
                <a:gd name="connsiteY69" fmla="*/ 1672065 h 6061990"/>
                <a:gd name="connsiteX70" fmla="*/ 4209617 w 9143999"/>
                <a:gd name="connsiteY70" fmla="*/ 1605558 h 6061990"/>
                <a:gd name="connsiteX71" fmla="*/ 4227122 w 9143999"/>
                <a:gd name="connsiteY71" fmla="*/ 1513716 h 6061990"/>
                <a:gd name="connsiteX72" fmla="*/ 4227122 w 9143999"/>
                <a:gd name="connsiteY72" fmla="*/ 1505403 h 6061990"/>
                <a:gd name="connsiteX73" fmla="*/ 4227122 w 9143999"/>
                <a:gd name="connsiteY73" fmla="*/ 1495902 h 6061990"/>
                <a:gd name="connsiteX74" fmla="*/ 4227122 w 9143999"/>
                <a:gd name="connsiteY74" fmla="*/ 1482047 h 6061990"/>
                <a:gd name="connsiteX75" fmla="*/ 4223621 w 9143999"/>
                <a:gd name="connsiteY75" fmla="*/ 1463045 h 6061990"/>
                <a:gd name="connsiteX76" fmla="*/ 4192112 w 9143999"/>
                <a:gd name="connsiteY76" fmla="*/ 1409207 h 6061990"/>
                <a:gd name="connsiteX77" fmla="*/ 4118589 w 9143999"/>
                <a:gd name="connsiteY77" fmla="*/ 1342700 h 6061990"/>
                <a:gd name="connsiteX78" fmla="*/ 3884019 w 9143999"/>
                <a:gd name="connsiteY78" fmla="*/ 1203354 h 6061990"/>
                <a:gd name="connsiteX79" fmla="*/ 3582928 w 9143999"/>
                <a:gd name="connsiteY79" fmla="*/ 1076675 h 6061990"/>
                <a:gd name="connsiteX80" fmla="*/ 3253829 w 9143999"/>
                <a:gd name="connsiteY80" fmla="*/ 965832 h 6061990"/>
                <a:gd name="connsiteX81" fmla="*/ 2543115 w 9143999"/>
                <a:gd name="connsiteY81" fmla="*/ 772647 h 6061990"/>
                <a:gd name="connsiteX82" fmla="*/ 1041163 w 9143999"/>
                <a:gd name="connsiteY82" fmla="*/ 468619 h 6061990"/>
                <a:gd name="connsiteX83" fmla="*/ 0 w 9143999"/>
                <a:gd name="connsiteY83" fmla="*/ 304674 h 6061990"/>
                <a:gd name="connsiteX84" fmla="*/ 0 w 9143999"/>
                <a:gd name="connsiteY84" fmla="*/ 0 h 6061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9143999" h="6061990">
                  <a:moveTo>
                    <a:pt x="0" y="0"/>
                  </a:moveTo>
                  <a:cubicBezTo>
                    <a:pt x="383616" y="31868"/>
                    <a:pt x="768406" y="70410"/>
                    <a:pt x="1153197" y="113919"/>
                  </a:cubicBezTo>
                  <a:cubicBezTo>
                    <a:pt x="1681856" y="174091"/>
                    <a:pt x="2214016" y="243764"/>
                    <a:pt x="2742675" y="338773"/>
                  </a:cubicBezTo>
                  <a:cubicBezTo>
                    <a:pt x="3008755" y="383110"/>
                    <a:pt x="3271334" y="436949"/>
                    <a:pt x="3537414" y="500288"/>
                  </a:cubicBezTo>
                  <a:lnTo>
                    <a:pt x="3933033" y="607965"/>
                  </a:lnTo>
                  <a:cubicBezTo>
                    <a:pt x="4062572" y="649135"/>
                    <a:pt x="4195613" y="693473"/>
                    <a:pt x="4328653" y="747311"/>
                  </a:cubicBezTo>
                  <a:cubicBezTo>
                    <a:pt x="4458192" y="797983"/>
                    <a:pt x="4591232" y="861322"/>
                    <a:pt x="4717270" y="940496"/>
                  </a:cubicBezTo>
                  <a:cubicBezTo>
                    <a:pt x="4780289" y="981667"/>
                    <a:pt x="4843308" y="1026004"/>
                    <a:pt x="4902826" y="1079842"/>
                  </a:cubicBezTo>
                  <a:cubicBezTo>
                    <a:pt x="4958842" y="1130514"/>
                    <a:pt x="5011358" y="1190686"/>
                    <a:pt x="5053371" y="1260359"/>
                  </a:cubicBezTo>
                  <a:cubicBezTo>
                    <a:pt x="5074377" y="1295196"/>
                    <a:pt x="5088381" y="1333200"/>
                    <a:pt x="5102386" y="1371203"/>
                  </a:cubicBezTo>
                  <a:cubicBezTo>
                    <a:pt x="5109388" y="1390205"/>
                    <a:pt x="5112889" y="1409207"/>
                    <a:pt x="5116390" y="1428208"/>
                  </a:cubicBezTo>
                  <a:lnTo>
                    <a:pt x="5116390" y="1434542"/>
                  </a:lnTo>
                  <a:lnTo>
                    <a:pt x="5119454" y="1440084"/>
                  </a:lnTo>
                  <a:cubicBezTo>
                    <a:pt x="5119600" y="1442195"/>
                    <a:pt x="5119745" y="1444307"/>
                    <a:pt x="5119891" y="1446418"/>
                  </a:cubicBezTo>
                  <a:lnTo>
                    <a:pt x="5126893" y="1472546"/>
                  </a:lnTo>
                  <a:cubicBezTo>
                    <a:pt x="5137396" y="1526384"/>
                    <a:pt x="5144398" y="1586557"/>
                    <a:pt x="5144398" y="1646729"/>
                  </a:cubicBezTo>
                  <a:cubicBezTo>
                    <a:pt x="5140897" y="1710068"/>
                    <a:pt x="5133895" y="1776574"/>
                    <a:pt x="5112889" y="1843081"/>
                  </a:cubicBezTo>
                  <a:cubicBezTo>
                    <a:pt x="5088381" y="1912754"/>
                    <a:pt x="5053371" y="1982427"/>
                    <a:pt x="5000855" y="2048933"/>
                  </a:cubicBezTo>
                  <a:cubicBezTo>
                    <a:pt x="4948339" y="2118606"/>
                    <a:pt x="4881819" y="2181946"/>
                    <a:pt x="4808297" y="2235784"/>
                  </a:cubicBezTo>
                  <a:cubicBezTo>
                    <a:pt x="4731274" y="2289622"/>
                    <a:pt x="4650750" y="2333960"/>
                    <a:pt x="4570225" y="2371963"/>
                  </a:cubicBezTo>
                  <a:cubicBezTo>
                    <a:pt x="4486200" y="2409967"/>
                    <a:pt x="4405676" y="2441637"/>
                    <a:pt x="4325152" y="2470139"/>
                  </a:cubicBezTo>
                  <a:cubicBezTo>
                    <a:pt x="4248128" y="2495475"/>
                    <a:pt x="4171105" y="2517644"/>
                    <a:pt x="4094082" y="2536645"/>
                  </a:cubicBezTo>
                  <a:cubicBezTo>
                    <a:pt x="3943537" y="2577816"/>
                    <a:pt x="3803494" y="2606319"/>
                    <a:pt x="3670454" y="2634821"/>
                  </a:cubicBezTo>
                  <a:lnTo>
                    <a:pt x="3292341" y="2713995"/>
                  </a:lnTo>
                  <a:cubicBezTo>
                    <a:pt x="3173305" y="2739331"/>
                    <a:pt x="3064772" y="2767834"/>
                    <a:pt x="2966743" y="2796336"/>
                  </a:cubicBezTo>
                  <a:cubicBezTo>
                    <a:pt x="2868713" y="2824839"/>
                    <a:pt x="2781187" y="2856509"/>
                    <a:pt x="2711166" y="2888178"/>
                  </a:cubicBezTo>
                  <a:cubicBezTo>
                    <a:pt x="2641145" y="2919848"/>
                    <a:pt x="2588629" y="2951518"/>
                    <a:pt x="2550117" y="2986354"/>
                  </a:cubicBezTo>
                  <a:cubicBezTo>
                    <a:pt x="2511606" y="3018024"/>
                    <a:pt x="2483597" y="3052860"/>
                    <a:pt x="2466092" y="3087697"/>
                  </a:cubicBezTo>
                  <a:cubicBezTo>
                    <a:pt x="2445086" y="3125701"/>
                    <a:pt x="2433604" y="3159391"/>
                    <a:pt x="2420578" y="3217543"/>
                  </a:cubicBezTo>
                  <a:cubicBezTo>
                    <a:pt x="2407552" y="3275695"/>
                    <a:pt x="2400327" y="3409351"/>
                    <a:pt x="2445086" y="3470900"/>
                  </a:cubicBezTo>
                  <a:cubicBezTo>
                    <a:pt x="2489845" y="3532449"/>
                    <a:pt x="2490599" y="3537406"/>
                    <a:pt x="2529111" y="3575409"/>
                  </a:cubicBezTo>
                  <a:cubicBezTo>
                    <a:pt x="2606134" y="3654583"/>
                    <a:pt x="2732172" y="3743258"/>
                    <a:pt x="2886218" y="3828766"/>
                  </a:cubicBezTo>
                  <a:cubicBezTo>
                    <a:pt x="3036764" y="3914274"/>
                    <a:pt x="3218818" y="3996616"/>
                    <a:pt x="3414877" y="4075790"/>
                  </a:cubicBezTo>
                  <a:cubicBezTo>
                    <a:pt x="3607435" y="4151797"/>
                    <a:pt x="3817499" y="4224637"/>
                    <a:pt x="4034564" y="4294310"/>
                  </a:cubicBezTo>
                  <a:cubicBezTo>
                    <a:pt x="4251629" y="4360816"/>
                    <a:pt x="4475697" y="4427323"/>
                    <a:pt x="4706767" y="4487495"/>
                  </a:cubicBezTo>
                  <a:cubicBezTo>
                    <a:pt x="5165405" y="4607839"/>
                    <a:pt x="5645049" y="4712349"/>
                    <a:pt x="6128195" y="4810525"/>
                  </a:cubicBezTo>
                  <a:cubicBezTo>
                    <a:pt x="6614841" y="4905534"/>
                    <a:pt x="7111991" y="4994209"/>
                    <a:pt x="7609141" y="5070216"/>
                  </a:cubicBezTo>
                  <a:cubicBezTo>
                    <a:pt x="8109791" y="5149390"/>
                    <a:pt x="8613943" y="5222230"/>
                    <a:pt x="9118095" y="5285570"/>
                  </a:cubicBezTo>
                  <a:lnTo>
                    <a:pt x="9143999" y="5288702"/>
                  </a:lnTo>
                  <a:lnTo>
                    <a:pt x="9143999" y="6061990"/>
                  </a:lnTo>
                  <a:lnTo>
                    <a:pt x="4752032" y="6061990"/>
                  </a:lnTo>
                  <a:cubicBezTo>
                    <a:pt x="4441382" y="5969608"/>
                    <a:pt x="4132773" y="5869741"/>
                    <a:pt x="3828002" y="5760614"/>
                  </a:cubicBezTo>
                  <a:cubicBezTo>
                    <a:pt x="3572425" y="5671939"/>
                    <a:pt x="3323850" y="5576930"/>
                    <a:pt x="3071774" y="5475587"/>
                  </a:cubicBezTo>
                  <a:cubicBezTo>
                    <a:pt x="2823199" y="5371078"/>
                    <a:pt x="2574625" y="5260234"/>
                    <a:pt x="2329551" y="5136722"/>
                  </a:cubicBezTo>
                  <a:cubicBezTo>
                    <a:pt x="2087978" y="5010044"/>
                    <a:pt x="1846405" y="4873864"/>
                    <a:pt x="1615336" y="4712349"/>
                  </a:cubicBezTo>
                  <a:cubicBezTo>
                    <a:pt x="1499801" y="4630008"/>
                    <a:pt x="1387767" y="4544500"/>
                    <a:pt x="1282736" y="4446324"/>
                  </a:cubicBezTo>
                  <a:cubicBezTo>
                    <a:pt x="1177704" y="4348149"/>
                    <a:pt x="1076173" y="4243639"/>
                    <a:pt x="992148" y="4123294"/>
                  </a:cubicBezTo>
                  <a:cubicBezTo>
                    <a:pt x="908123" y="4006116"/>
                    <a:pt x="834601" y="3873104"/>
                    <a:pt x="792588" y="3733758"/>
                  </a:cubicBezTo>
                  <a:cubicBezTo>
                    <a:pt x="750575" y="3591244"/>
                    <a:pt x="740072" y="3442397"/>
                    <a:pt x="761078" y="3296717"/>
                  </a:cubicBezTo>
                  <a:lnTo>
                    <a:pt x="764579" y="3271381"/>
                  </a:lnTo>
                  <a:lnTo>
                    <a:pt x="767643" y="3257526"/>
                  </a:lnTo>
                  <a:cubicBezTo>
                    <a:pt x="768081" y="3249212"/>
                    <a:pt x="771582" y="3242878"/>
                    <a:pt x="771582" y="3242878"/>
                  </a:cubicBezTo>
                  <a:lnTo>
                    <a:pt x="774645" y="3234565"/>
                  </a:lnTo>
                  <a:lnTo>
                    <a:pt x="775083" y="3226251"/>
                  </a:lnTo>
                  <a:lnTo>
                    <a:pt x="775083" y="3223876"/>
                  </a:lnTo>
                  <a:lnTo>
                    <a:pt x="778146" y="3218334"/>
                  </a:lnTo>
                  <a:lnTo>
                    <a:pt x="782085" y="3195374"/>
                  </a:lnTo>
                  <a:cubicBezTo>
                    <a:pt x="792588" y="3166871"/>
                    <a:pt x="799590" y="3138368"/>
                    <a:pt x="813594" y="3106699"/>
                  </a:cubicBezTo>
                  <a:cubicBezTo>
                    <a:pt x="834601" y="3046527"/>
                    <a:pt x="859108" y="2986354"/>
                    <a:pt x="890617" y="2926182"/>
                  </a:cubicBezTo>
                  <a:cubicBezTo>
                    <a:pt x="953636" y="2802670"/>
                    <a:pt x="1041163" y="2679159"/>
                    <a:pt x="1156698" y="2565148"/>
                  </a:cubicBezTo>
                  <a:cubicBezTo>
                    <a:pt x="1272232" y="2447970"/>
                    <a:pt x="1419277" y="2340294"/>
                    <a:pt x="1576824" y="2254786"/>
                  </a:cubicBezTo>
                  <a:cubicBezTo>
                    <a:pt x="1737873" y="2169278"/>
                    <a:pt x="1909424" y="2102772"/>
                    <a:pt x="2077475" y="2055267"/>
                  </a:cubicBezTo>
                  <a:cubicBezTo>
                    <a:pt x="2242024" y="2004596"/>
                    <a:pt x="2406574" y="1972926"/>
                    <a:pt x="2560620" y="1947590"/>
                  </a:cubicBezTo>
                  <a:cubicBezTo>
                    <a:pt x="2718168" y="1922255"/>
                    <a:pt x="2865212" y="1903253"/>
                    <a:pt x="3005254" y="1890585"/>
                  </a:cubicBezTo>
                  <a:cubicBezTo>
                    <a:pt x="3145296" y="1874750"/>
                    <a:pt x="3281837" y="1862082"/>
                    <a:pt x="3404374" y="1852581"/>
                  </a:cubicBezTo>
                  <a:lnTo>
                    <a:pt x="3754480" y="1814578"/>
                  </a:lnTo>
                  <a:cubicBezTo>
                    <a:pt x="3856010" y="1798743"/>
                    <a:pt x="3947038" y="1782908"/>
                    <a:pt x="4006556" y="1763907"/>
                  </a:cubicBezTo>
                  <a:cubicBezTo>
                    <a:pt x="4038065" y="1754406"/>
                    <a:pt x="4066074" y="1748072"/>
                    <a:pt x="4083579" y="1738571"/>
                  </a:cubicBezTo>
                  <a:cubicBezTo>
                    <a:pt x="4104585" y="1732237"/>
                    <a:pt x="4122090" y="1722736"/>
                    <a:pt x="4136095" y="1713235"/>
                  </a:cubicBezTo>
                  <a:cubicBezTo>
                    <a:pt x="4150099" y="1703734"/>
                    <a:pt x="4164103" y="1691066"/>
                    <a:pt x="4178107" y="1672065"/>
                  </a:cubicBezTo>
                  <a:cubicBezTo>
                    <a:pt x="4192112" y="1653063"/>
                    <a:pt x="4202615" y="1630894"/>
                    <a:pt x="4209617" y="1605558"/>
                  </a:cubicBezTo>
                  <a:cubicBezTo>
                    <a:pt x="4220120" y="1577056"/>
                    <a:pt x="4223621" y="1548553"/>
                    <a:pt x="4227122" y="1513716"/>
                  </a:cubicBezTo>
                  <a:lnTo>
                    <a:pt x="4227122" y="1505403"/>
                  </a:lnTo>
                  <a:lnTo>
                    <a:pt x="4227122" y="1495902"/>
                  </a:lnTo>
                  <a:lnTo>
                    <a:pt x="4227122" y="1482047"/>
                  </a:lnTo>
                  <a:cubicBezTo>
                    <a:pt x="4227122" y="1475713"/>
                    <a:pt x="4227122" y="1469379"/>
                    <a:pt x="4223621" y="1463045"/>
                  </a:cubicBezTo>
                  <a:cubicBezTo>
                    <a:pt x="4220120" y="1447210"/>
                    <a:pt x="4209617" y="1428208"/>
                    <a:pt x="4192112" y="1409207"/>
                  </a:cubicBezTo>
                  <a:cubicBezTo>
                    <a:pt x="4171105" y="1387038"/>
                    <a:pt x="4146598" y="1364869"/>
                    <a:pt x="4118589" y="1342700"/>
                  </a:cubicBezTo>
                  <a:cubicBezTo>
                    <a:pt x="4055570" y="1295196"/>
                    <a:pt x="3975046" y="1247691"/>
                    <a:pt x="3884019" y="1203354"/>
                  </a:cubicBezTo>
                  <a:cubicBezTo>
                    <a:pt x="3792991" y="1159016"/>
                    <a:pt x="3691461" y="1117846"/>
                    <a:pt x="3582928" y="1076675"/>
                  </a:cubicBezTo>
                  <a:cubicBezTo>
                    <a:pt x="3477896" y="1038672"/>
                    <a:pt x="3365863" y="1000668"/>
                    <a:pt x="3253829" y="965832"/>
                  </a:cubicBezTo>
                  <a:cubicBezTo>
                    <a:pt x="3026261" y="892992"/>
                    <a:pt x="2784688" y="829652"/>
                    <a:pt x="2543115" y="772647"/>
                  </a:cubicBezTo>
                  <a:cubicBezTo>
                    <a:pt x="2056469" y="655469"/>
                    <a:pt x="1548816" y="557293"/>
                    <a:pt x="1041163" y="468619"/>
                  </a:cubicBezTo>
                  <a:cubicBezTo>
                    <a:pt x="696624" y="408848"/>
                    <a:pt x="348905" y="354833"/>
                    <a:pt x="0" y="304674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8"/>
            <p:cNvSpPr>
              <a:spLocks/>
            </p:cNvSpPr>
            <p:nvPr/>
          </p:nvSpPr>
          <p:spPr bwMode="auto">
            <a:xfrm>
              <a:off x="0" y="869184"/>
              <a:ext cx="8795009" cy="5988817"/>
            </a:xfrm>
            <a:custGeom>
              <a:avLst/>
              <a:gdLst/>
              <a:ahLst/>
              <a:cxnLst/>
              <a:rect l="l" t="t" r="r" b="b"/>
              <a:pathLst>
                <a:path w="8795010" h="5988817">
                  <a:moveTo>
                    <a:pt x="0" y="0"/>
                  </a:moveTo>
                  <a:cubicBezTo>
                    <a:pt x="1275901" y="148554"/>
                    <a:pt x="2311734" y="316320"/>
                    <a:pt x="3082902" y="500228"/>
                  </a:cubicBezTo>
                  <a:cubicBezTo>
                    <a:pt x="4178728" y="759957"/>
                    <a:pt x="4735394" y="1048193"/>
                    <a:pt x="4784409" y="1380772"/>
                  </a:cubicBezTo>
                  <a:cubicBezTo>
                    <a:pt x="4882438" y="2049099"/>
                    <a:pt x="4129714" y="2159959"/>
                    <a:pt x="3404998" y="2267652"/>
                  </a:cubicBezTo>
                  <a:cubicBezTo>
                    <a:pt x="2627767" y="2381679"/>
                    <a:pt x="1829529" y="2498874"/>
                    <a:pt x="1703491" y="3230549"/>
                  </a:cubicBezTo>
                  <a:cubicBezTo>
                    <a:pt x="1542443" y="4168107"/>
                    <a:pt x="3888142" y="4931457"/>
                    <a:pt x="5887237" y="5409738"/>
                  </a:cubicBezTo>
                  <a:cubicBezTo>
                    <a:pt x="6920721" y="5655400"/>
                    <a:pt x="7970450" y="5850672"/>
                    <a:pt x="8795010" y="5988817"/>
                  </a:cubicBezTo>
                  <a:lnTo>
                    <a:pt x="7910172" y="5988817"/>
                  </a:lnTo>
                  <a:cubicBezTo>
                    <a:pt x="7256881" y="5868994"/>
                    <a:pt x="6531625" y="5722599"/>
                    <a:pt x="5813715" y="5552272"/>
                  </a:cubicBezTo>
                  <a:cubicBezTo>
                    <a:pt x="4507826" y="5238697"/>
                    <a:pt x="3478520" y="4909285"/>
                    <a:pt x="2757305" y="4570370"/>
                  </a:cubicBezTo>
                  <a:cubicBezTo>
                    <a:pt x="1829529" y="4136433"/>
                    <a:pt x="1398901" y="3677156"/>
                    <a:pt x="1479425" y="3211544"/>
                  </a:cubicBezTo>
                  <a:cubicBezTo>
                    <a:pt x="1545945" y="2837788"/>
                    <a:pt x="1773512" y="2571724"/>
                    <a:pt x="2183134" y="2394349"/>
                  </a:cubicBezTo>
                  <a:cubicBezTo>
                    <a:pt x="2529737" y="2242312"/>
                    <a:pt x="2949863" y="2178964"/>
                    <a:pt x="3355983" y="2121950"/>
                  </a:cubicBezTo>
                  <a:cubicBezTo>
                    <a:pt x="3709589" y="2068104"/>
                    <a:pt x="4042188" y="2020592"/>
                    <a:pt x="4269755" y="1916067"/>
                  </a:cubicBezTo>
                  <a:cubicBezTo>
                    <a:pt x="4416799" y="1846384"/>
                    <a:pt x="4609356" y="1716520"/>
                    <a:pt x="4560342" y="1396610"/>
                  </a:cubicBezTo>
                  <a:cubicBezTo>
                    <a:pt x="4521830" y="1133713"/>
                    <a:pt x="3986171" y="873984"/>
                    <a:pt x="3009380" y="642762"/>
                  </a:cubicBezTo>
                  <a:cubicBezTo>
                    <a:pt x="2258781" y="463602"/>
                    <a:pt x="1245927" y="300260"/>
                    <a:pt x="0" y="1532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9"/>
            <p:cNvSpPr>
              <a:spLocks/>
            </p:cNvSpPr>
            <p:nvPr/>
          </p:nvSpPr>
          <p:spPr bwMode="auto">
            <a:xfrm>
              <a:off x="0" y="918280"/>
              <a:ext cx="8513236" cy="5939720"/>
            </a:xfrm>
            <a:custGeom>
              <a:avLst/>
              <a:gdLst/>
              <a:ahLst/>
              <a:cxnLst/>
              <a:rect l="l" t="t" r="r" b="b"/>
              <a:pathLst>
                <a:path w="8513236" h="5939720">
                  <a:moveTo>
                    <a:pt x="0" y="0"/>
                  </a:moveTo>
                  <a:cubicBezTo>
                    <a:pt x="1267237" y="148192"/>
                    <a:pt x="2295572" y="315238"/>
                    <a:pt x="3057919" y="495651"/>
                  </a:cubicBezTo>
                  <a:cubicBezTo>
                    <a:pt x="3555058" y="612834"/>
                    <a:pt x="3943667" y="739519"/>
                    <a:pt x="4216743" y="869370"/>
                  </a:cubicBezTo>
                  <a:cubicBezTo>
                    <a:pt x="4521328" y="1015057"/>
                    <a:pt x="4689375" y="1173412"/>
                    <a:pt x="4713882" y="1334935"/>
                  </a:cubicBezTo>
                  <a:cubicBezTo>
                    <a:pt x="4804908" y="1965190"/>
                    <a:pt x="4118716" y="2066537"/>
                    <a:pt x="3387011" y="2174219"/>
                  </a:cubicBezTo>
                  <a:cubicBezTo>
                    <a:pt x="2588788" y="2291402"/>
                    <a:pt x="1766058" y="2411752"/>
                    <a:pt x="1633021" y="3175025"/>
                  </a:cubicBezTo>
                  <a:cubicBezTo>
                    <a:pt x="1559500" y="3599417"/>
                    <a:pt x="1969115" y="4023810"/>
                    <a:pt x="2844359" y="4435534"/>
                  </a:cubicBezTo>
                  <a:cubicBezTo>
                    <a:pt x="3555058" y="4771248"/>
                    <a:pt x="4570342" y="5097460"/>
                    <a:pt x="5865704" y="5404669"/>
                  </a:cubicBezTo>
                  <a:cubicBezTo>
                    <a:pt x="6793025" y="5624727"/>
                    <a:pt x="7733382" y="5804910"/>
                    <a:pt x="8513236" y="5939720"/>
                  </a:cubicBezTo>
                  <a:lnTo>
                    <a:pt x="8179609" y="5939720"/>
                  </a:lnTo>
                  <a:cubicBezTo>
                    <a:pt x="7465516" y="5812559"/>
                    <a:pt x="6646676" y="5651037"/>
                    <a:pt x="5837696" y="5458510"/>
                  </a:cubicBezTo>
                  <a:cubicBezTo>
                    <a:pt x="4538833" y="5148133"/>
                    <a:pt x="3513046" y="4818754"/>
                    <a:pt x="2798847" y="4483041"/>
                  </a:cubicBezTo>
                  <a:cubicBezTo>
                    <a:pt x="1892093" y="4058648"/>
                    <a:pt x="1471976" y="3615253"/>
                    <a:pt x="1548997" y="3168691"/>
                  </a:cubicBezTo>
                  <a:cubicBezTo>
                    <a:pt x="1689036" y="2364245"/>
                    <a:pt x="2581786" y="2234394"/>
                    <a:pt x="3369506" y="2117211"/>
                  </a:cubicBezTo>
                  <a:cubicBezTo>
                    <a:pt x="4090708" y="2012696"/>
                    <a:pt x="4713882" y="1920850"/>
                    <a:pt x="4629859" y="1341269"/>
                  </a:cubicBezTo>
                  <a:cubicBezTo>
                    <a:pt x="4559122" y="844575"/>
                    <a:pt x="2958673" y="403585"/>
                    <a:pt x="0" y="579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4343400" y="3553361"/>
            <a:ext cx="4236656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l-GR" sz="17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Για την τελική προσέγγιση του θέματος, λόγω του μεγάλου όγκου δεδομένων (πολλά έτη ωριαίας ή 3ωρης </a:t>
            </a:r>
            <a:r>
              <a:rPr lang="el-GR" sz="1700" b="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χρονοσειράς</a:t>
            </a:r>
            <a:r>
              <a:rPr lang="el-GR" sz="17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ήταν μεγάλη η  απαίτηση χρόνου για την </a:t>
            </a:r>
            <a:r>
              <a:rPr lang="en-US" sz="17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</a:t>
            </a:r>
            <a:r>
              <a:rPr lang="el-GR" sz="17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επίλυση</a:t>
            </a:r>
            <a:r>
              <a:rPr lang="en-US" sz="17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”</a:t>
            </a:r>
            <a:r>
              <a:rPr lang="el-GR" sz="17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κάθε μεθόδου.</a:t>
            </a:r>
            <a:endParaRPr lang="en-US" sz="17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09714"/>
          </a:xfrm>
        </p:spPr>
        <p:txBody>
          <a:bodyPr>
            <a:normAutofit/>
          </a:bodyPr>
          <a:lstStyle/>
          <a:p>
            <a:pPr algn="ctr"/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Εμπόδια κατά την εκπόνηση</a:t>
            </a:r>
            <a:endParaRPr lang="en-US" sz="36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7" name="Group 26"/>
          <p:cNvGrpSpPr>
            <a:grpSpLocks noChangeAspect="1"/>
          </p:cNvGrpSpPr>
          <p:nvPr/>
        </p:nvGrpSpPr>
        <p:grpSpPr>
          <a:xfrm>
            <a:off x="5334000" y="1068319"/>
            <a:ext cx="742320" cy="1370081"/>
            <a:chOff x="2526619" y="3231420"/>
            <a:chExt cx="1325880" cy="2447151"/>
          </a:xfrm>
        </p:grpSpPr>
        <p:sp>
          <p:nvSpPr>
            <p:cNvPr id="28" name="Rounded Rectangle 27"/>
            <p:cNvSpPr/>
            <p:nvPr/>
          </p:nvSpPr>
          <p:spPr>
            <a:xfrm>
              <a:off x="2526619" y="4539657"/>
              <a:ext cx="1325880" cy="1138914"/>
            </a:xfrm>
            <a:prstGeom prst="roundRect">
              <a:avLst>
                <a:gd name="adj" fmla="val 5138"/>
              </a:avLst>
            </a:prstGeom>
            <a:solidFill>
              <a:srgbClr val="C11D07"/>
            </a:solidFill>
            <a:ln>
              <a:noFill/>
            </a:ln>
            <a:effectLst>
              <a:outerShdw blurRad="317500" dist="38100" dir="5400000" algn="t" rotWithShape="0">
                <a:prstClr val="black">
                  <a:alpha val="65000"/>
                </a:prstClr>
              </a:outerShdw>
            </a:effectLst>
            <a:scene3d>
              <a:camera prst="perspectiveRelaxed" fov="7200000">
                <a:rot lat="17673596" lon="0" rev="0"/>
              </a:camera>
              <a:lightRig rig="threePt" dir="t">
                <a:rot lat="0" lon="0" rev="10200000"/>
              </a:lightRig>
            </a:scene3d>
            <a:sp3d extrusionH="38100" prstMaterial="plastic">
              <a:bevelT w="50800" h="50800"/>
            </a:sp3d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Isosceles Triangle 35"/>
            <p:cNvSpPr/>
            <p:nvPr/>
          </p:nvSpPr>
          <p:spPr>
            <a:xfrm>
              <a:off x="2701879" y="3231420"/>
              <a:ext cx="975360" cy="2069621"/>
            </a:xfrm>
            <a:custGeom>
              <a:avLst/>
              <a:gdLst>
                <a:gd name="connsiteX0" fmla="*/ 509840 w 975360"/>
                <a:gd name="connsiteY0" fmla="*/ 792 h 2069621"/>
                <a:gd name="connsiteX1" fmla="*/ 563039 w 975360"/>
                <a:gd name="connsiteY1" fmla="*/ 10265 h 2069621"/>
                <a:gd name="connsiteX2" fmla="*/ 975360 w 975360"/>
                <a:gd name="connsiteY2" fmla="*/ 1885811 h 2069621"/>
                <a:gd name="connsiteX3" fmla="*/ 487880 w 975360"/>
                <a:gd name="connsiteY3" fmla="*/ 2069621 h 2069621"/>
                <a:gd name="connsiteX4" fmla="*/ 400 w 975360"/>
                <a:gd name="connsiteY4" fmla="*/ 1885811 h 2069621"/>
                <a:gd name="connsiteX5" fmla="*/ 447 w 975360"/>
                <a:gd name="connsiteY5" fmla="*/ 1885602 h 2069621"/>
                <a:gd name="connsiteX6" fmla="*/ 0 w 975360"/>
                <a:gd name="connsiteY6" fmla="*/ 1885602 h 2069621"/>
                <a:gd name="connsiteX7" fmla="*/ 410486 w 975360"/>
                <a:gd name="connsiteY7" fmla="*/ 8836 h 2069621"/>
                <a:gd name="connsiteX8" fmla="*/ 509840 w 975360"/>
                <a:gd name="connsiteY8" fmla="*/ 792 h 206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5360" h="2069621">
                  <a:moveTo>
                    <a:pt x="509840" y="792"/>
                  </a:moveTo>
                  <a:cubicBezTo>
                    <a:pt x="527756" y="1978"/>
                    <a:pt x="545585" y="4458"/>
                    <a:pt x="563039" y="10265"/>
                  </a:cubicBezTo>
                  <a:lnTo>
                    <a:pt x="975360" y="1885811"/>
                  </a:lnTo>
                  <a:cubicBezTo>
                    <a:pt x="975360" y="2008368"/>
                    <a:pt x="757108" y="2069621"/>
                    <a:pt x="487880" y="2069621"/>
                  </a:cubicBezTo>
                  <a:cubicBezTo>
                    <a:pt x="218652" y="2069621"/>
                    <a:pt x="400" y="2008368"/>
                    <a:pt x="400" y="1885811"/>
                  </a:cubicBezTo>
                  <a:cubicBezTo>
                    <a:pt x="416" y="1885741"/>
                    <a:pt x="431" y="1885671"/>
                    <a:pt x="447" y="1885602"/>
                  </a:cubicBezTo>
                  <a:lnTo>
                    <a:pt x="0" y="1885602"/>
                  </a:lnTo>
                  <a:lnTo>
                    <a:pt x="410486" y="8836"/>
                  </a:lnTo>
                  <a:cubicBezTo>
                    <a:pt x="444336" y="757"/>
                    <a:pt x="477232" y="-1367"/>
                    <a:pt x="509840" y="792"/>
                  </a:cubicBezTo>
                  <a:close/>
                </a:path>
              </a:pathLst>
            </a:custGeom>
            <a:gradFill>
              <a:gsLst>
                <a:gs pos="0">
                  <a:srgbClr val="F82306"/>
                </a:gs>
                <a:gs pos="100000">
                  <a:srgbClr val="A01704"/>
                </a:gs>
                <a:gs pos="40000">
                  <a:srgbClr val="F83B22"/>
                </a:gs>
              </a:gsLst>
              <a:lin ang="240000" scaled="0"/>
            </a:gradFill>
            <a:ln>
              <a:noFill/>
            </a:ln>
            <a:effectLst>
              <a:innerShdw blurRad="317500" dist="50800" dir="3000000">
                <a:prstClr val="black">
                  <a:alpha val="35000"/>
                </a:prstClr>
              </a:inn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0" name="Isosceles Triangle 35"/>
            <p:cNvSpPr/>
            <p:nvPr/>
          </p:nvSpPr>
          <p:spPr>
            <a:xfrm>
              <a:off x="2753496" y="4525954"/>
              <a:ext cx="860697" cy="384360"/>
            </a:xfrm>
            <a:custGeom>
              <a:avLst/>
              <a:gdLst/>
              <a:ahLst/>
              <a:cxnLst/>
              <a:rect l="l" t="t" r="r" b="b"/>
              <a:pathLst>
                <a:path w="860697" h="384360">
                  <a:moveTo>
                    <a:pt x="70995" y="0"/>
                  </a:moveTo>
                  <a:cubicBezTo>
                    <a:pt x="181101" y="30977"/>
                    <a:pt x="302713" y="47879"/>
                    <a:pt x="430508" y="47879"/>
                  </a:cubicBezTo>
                  <a:cubicBezTo>
                    <a:pt x="558047" y="47879"/>
                    <a:pt x="679426" y="31045"/>
                    <a:pt x="789368" y="226"/>
                  </a:cubicBezTo>
                  <a:lnTo>
                    <a:pt x="860697" y="324684"/>
                  </a:lnTo>
                  <a:cubicBezTo>
                    <a:pt x="727135" y="363624"/>
                    <a:pt x="582050" y="384360"/>
                    <a:pt x="430508" y="384360"/>
                  </a:cubicBezTo>
                  <a:cubicBezTo>
                    <a:pt x="278845" y="384360"/>
                    <a:pt x="133651" y="363591"/>
                    <a:pt x="0" y="324596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8F8F8"/>
                </a:gs>
                <a:gs pos="100000">
                  <a:srgbClr val="969696"/>
                </a:gs>
              </a:gsLst>
              <a:lin ang="0" scaled="1"/>
              <a:tileRect/>
            </a:gradFill>
            <a:ln w="12700" cap="rnd"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1" name="Isosceles Triangle 35"/>
            <p:cNvSpPr/>
            <p:nvPr/>
          </p:nvSpPr>
          <p:spPr>
            <a:xfrm>
              <a:off x="2882253" y="3951642"/>
              <a:ext cx="603182" cy="353398"/>
            </a:xfrm>
            <a:custGeom>
              <a:avLst/>
              <a:gdLst/>
              <a:ahLst/>
              <a:cxnLst/>
              <a:rect l="l" t="t" r="r" b="b"/>
              <a:pathLst>
                <a:path w="603182" h="353398">
                  <a:moveTo>
                    <a:pt x="68157" y="0"/>
                  </a:moveTo>
                  <a:cubicBezTo>
                    <a:pt x="141180" y="21147"/>
                    <a:pt x="220051" y="31240"/>
                    <a:pt x="302056" y="31240"/>
                  </a:cubicBezTo>
                  <a:cubicBezTo>
                    <a:pt x="383587" y="31240"/>
                    <a:pt x="462020" y="21263"/>
                    <a:pt x="534675" y="299"/>
                  </a:cubicBezTo>
                  <a:lnTo>
                    <a:pt x="603182" y="311919"/>
                  </a:lnTo>
                  <a:cubicBezTo>
                    <a:pt x="508278" y="338955"/>
                    <a:pt x="407075" y="353398"/>
                    <a:pt x="302056" y="353398"/>
                  </a:cubicBezTo>
                  <a:cubicBezTo>
                    <a:pt x="196690" y="353398"/>
                    <a:pt x="95166" y="338859"/>
                    <a:pt x="0" y="311618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8F8F8"/>
                </a:gs>
                <a:gs pos="100000">
                  <a:srgbClr val="969696"/>
                </a:gs>
              </a:gsLst>
              <a:lin ang="0" scaled="1"/>
              <a:tileRect/>
            </a:gradFill>
            <a:ln w="12700" cap="rnd"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5" name="Isosceles Triangle 35"/>
            <p:cNvSpPr/>
            <p:nvPr/>
          </p:nvSpPr>
          <p:spPr>
            <a:xfrm>
              <a:off x="3006985" y="3432205"/>
              <a:ext cx="353718" cy="280374"/>
            </a:xfrm>
            <a:custGeom>
              <a:avLst/>
              <a:gdLst/>
              <a:ahLst/>
              <a:cxnLst/>
              <a:rect l="l" t="t" r="r" b="b"/>
              <a:pathLst>
                <a:path w="353718" h="280374">
                  <a:moveTo>
                    <a:pt x="56505" y="0"/>
                  </a:moveTo>
                  <a:cubicBezTo>
                    <a:pt x="95458" y="7520"/>
                    <a:pt x="136018" y="11189"/>
                    <a:pt x="177626" y="11189"/>
                  </a:cubicBezTo>
                  <a:cubicBezTo>
                    <a:pt x="218579" y="11189"/>
                    <a:pt x="258515" y="7635"/>
                    <a:pt x="296925" y="462"/>
                  </a:cubicBezTo>
                  <a:lnTo>
                    <a:pt x="353718" y="258800"/>
                  </a:lnTo>
                  <a:cubicBezTo>
                    <a:pt x="297487" y="273547"/>
                    <a:pt x="238387" y="280374"/>
                    <a:pt x="177626" y="280374"/>
                  </a:cubicBezTo>
                  <a:cubicBezTo>
                    <a:pt x="116307" y="280374"/>
                    <a:pt x="56679" y="273421"/>
                    <a:pt x="0" y="2583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8F8F8"/>
                </a:gs>
                <a:gs pos="100000">
                  <a:srgbClr val="969696"/>
                </a:gs>
              </a:gsLst>
              <a:lin ang="0" scaled="1"/>
              <a:tileRect/>
            </a:gradFill>
            <a:ln w="12700" cap="rnd"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6" name="Isosceles Triangle 35"/>
            <p:cNvSpPr/>
            <p:nvPr/>
          </p:nvSpPr>
          <p:spPr>
            <a:xfrm>
              <a:off x="2792584" y="3232362"/>
              <a:ext cx="378767" cy="2058550"/>
            </a:xfrm>
            <a:custGeom>
              <a:avLst/>
              <a:gdLst/>
              <a:ahLst/>
              <a:cxnLst/>
              <a:rect l="l" t="t" r="r" b="b"/>
              <a:pathLst>
                <a:path w="378767" h="2058550">
                  <a:moveTo>
                    <a:pt x="378767" y="0"/>
                  </a:moveTo>
                  <a:lnTo>
                    <a:pt x="221834" y="2058550"/>
                  </a:lnTo>
                  <a:cubicBezTo>
                    <a:pt x="131841" y="2048309"/>
                    <a:pt x="54775" y="2028807"/>
                    <a:pt x="0" y="1999947"/>
                  </a:cubicBezTo>
                  <a:lnTo>
                    <a:pt x="259148" y="285117"/>
                  </a:lnTo>
                  <a:lnTo>
                    <a:pt x="319782" y="7894"/>
                  </a:lnTo>
                  <a:cubicBezTo>
                    <a:pt x="339721" y="3135"/>
                    <a:pt x="359328" y="443"/>
                    <a:pt x="378767" y="0"/>
                  </a:cubicBez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7" name="Isosceles Triangle 35"/>
            <p:cNvSpPr/>
            <p:nvPr/>
          </p:nvSpPr>
          <p:spPr>
            <a:xfrm>
              <a:off x="3081496" y="3232259"/>
              <a:ext cx="153711" cy="2068782"/>
            </a:xfrm>
            <a:custGeom>
              <a:avLst/>
              <a:gdLst/>
              <a:ahLst/>
              <a:cxnLst/>
              <a:rect l="l" t="t" r="r" b="b"/>
              <a:pathLst>
                <a:path w="153711" h="2068782">
                  <a:moveTo>
                    <a:pt x="117624" y="0"/>
                  </a:moveTo>
                  <a:lnTo>
                    <a:pt x="153711" y="2067454"/>
                  </a:lnTo>
                  <a:cubicBezTo>
                    <a:pt x="138761" y="2068584"/>
                    <a:pt x="123595" y="2068782"/>
                    <a:pt x="108264" y="2068782"/>
                  </a:cubicBezTo>
                  <a:cubicBezTo>
                    <a:pt x="71048" y="2068782"/>
                    <a:pt x="34806" y="2067612"/>
                    <a:pt x="0" y="2064968"/>
                  </a:cubicBezTo>
                  <a:lnTo>
                    <a:pt x="100882" y="62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6" name="TextBox 45"/>
          <p:cNvSpPr txBox="1"/>
          <p:nvPr/>
        </p:nvSpPr>
        <p:spPr>
          <a:xfrm>
            <a:off x="6139950" y="838200"/>
            <a:ext cx="3011116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l-GR" sz="17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Πραγματοποιήθηκαν πολλές  διαφορετικές και αποτυχημένες προσεγγίσεις του ζητήματος μέχρι να βρεθεί η μέθοδος με τα λιγότερα προβλήματα και να συνεχίσουμε.</a:t>
            </a:r>
            <a:endParaRPr lang="en-US" sz="17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-23034" y="1752600"/>
            <a:ext cx="2842434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l-GR" sz="17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Μη ελεύθερη πρόσβαση σε μετεωρολογικά δεδομένα πρόβλεψης στους Ελληνικούς φορείς, άρα δυσκολία εύρεσης αυτών.</a:t>
            </a:r>
            <a:endParaRPr lang="en-US" sz="17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Freeform 8">
            <a:extLst>
              <a:ext uri="{FF2B5EF4-FFF2-40B4-BE49-F238E27FC236}">
                <a16:creationId xmlns:a16="http://schemas.microsoft.com/office/drawing/2014/main" id="{7AAC1AB2-21AD-48B4-805A-C6303B04ABC2}"/>
              </a:ext>
            </a:extLst>
          </p:cNvPr>
          <p:cNvSpPr>
            <a:spLocks/>
          </p:cNvSpPr>
          <p:nvPr/>
        </p:nvSpPr>
        <p:spPr bwMode="auto">
          <a:xfrm>
            <a:off x="7067" y="1194302"/>
            <a:ext cx="8795009" cy="5677119"/>
          </a:xfrm>
          <a:custGeom>
            <a:avLst/>
            <a:gdLst/>
            <a:ahLst/>
            <a:cxnLst/>
            <a:rect l="l" t="t" r="r" b="b"/>
            <a:pathLst>
              <a:path w="8795010" h="5988817">
                <a:moveTo>
                  <a:pt x="0" y="0"/>
                </a:moveTo>
                <a:cubicBezTo>
                  <a:pt x="1275901" y="148554"/>
                  <a:pt x="2311734" y="316320"/>
                  <a:pt x="3082902" y="500228"/>
                </a:cubicBezTo>
                <a:cubicBezTo>
                  <a:pt x="4178728" y="759957"/>
                  <a:pt x="4735394" y="1048193"/>
                  <a:pt x="4784409" y="1380772"/>
                </a:cubicBezTo>
                <a:cubicBezTo>
                  <a:pt x="4882438" y="2049099"/>
                  <a:pt x="4129714" y="2159959"/>
                  <a:pt x="3404998" y="2267652"/>
                </a:cubicBezTo>
                <a:cubicBezTo>
                  <a:pt x="2627767" y="2381679"/>
                  <a:pt x="1829529" y="2498874"/>
                  <a:pt x="1703491" y="3230549"/>
                </a:cubicBezTo>
                <a:cubicBezTo>
                  <a:pt x="1542443" y="4168107"/>
                  <a:pt x="3888142" y="4931457"/>
                  <a:pt x="5887237" y="5409738"/>
                </a:cubicBezTo>
                <a:cubicBezTo>
                  <a:pt x="6920721" y="5655400"/>
                  <a:pt x="7970450" y="5850672"/>
                  <a:pt x="8795010" y="5988817"/>
                </a:cubicBezTo>
                <a:lnTo>
                  <a:pt x="7910172" y="5988817"/>
                </a:lnTo>
                <a:cubicBezTo>
                  <a:pt x="7256881" y="5868994"/>
                  <a:pt x="6531625" y="5722599"/>
                  <a:pt x="5813715" y="5552272"/>
                </a:cubicBezTo>
                <a:cubicBezTo>
                  <a:pt x="4507826" y="5238697"/>
                  <a:pt x="3478520" y="4909285"/>
                  <a:pt x="2757305" y="4570370"/>
                </a:cubicBezTo>
                <a:cubicBezTo>
                  <a:pt x="1829529" y="4136433"/>
                  <a:pt x="1398901" y="3677156"/>
                  <a:pt x="1479425" y="3211544"/>
                </a:cubicBezTo>
                <a:cubicBezTo>
                  <a:pt x="1545945" y="2837788"/>
                  <a:pt x="1773512" y="2571724"/>
                  <a:pt x="2183134" y="2394349"/>
                </a:cubicBezTo>
                <a:cubicBezTo>
                  <a:pt x="2529737" y="2242312"/>
                  <a:pt x="2949863" y="2178964"/>
                  <a:pt x="3355983" y="2121950"/>
                </a:cubicBezTo>
                <a:cubicBezTo>
                  <a:pt x="3709589" y="2068104"/>
                  <a:pt x="4042188" y="2020592"/>
                  <a:pt x="4269755" y="1916067"/>
                </a:cubicBezTo>
                <a:cubicBezTo>
                  <a:pt x="4416799" y="1846384"/>
                  <a:pt x="4609356" y="1716520"/>
                  <a:pt x="4560342" y="1396610"/>
                </a:cubicBezTo>
                <a:cubicBezTo>
                  <a:pt x="4521830" y="1133713"/>
                  <a:pt x="3986171" y="873984"/>
                  <a:pt x="3009380" y="642762"/>
                </a:cubicBezTo>
                <a:cubicBezTo>
                  <a:pt x="2258781" y="463602"/>
                  <a:pt x="1245927" y="300260"/>
                  <a:pt x="0" y="15323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Freeform 9">
            <a:extLst>
              <a:ext uri="{FF2B5EF4-FFF2-40B4-BE49-F238E27FC236}">
                <a16:creationId xmlns:a16="http://schemas.microsoft.com/office/drawing/2014/main" id="{1CDCDF85-A6DE-4D1D-B861-DDF3F73F06FE}"/>
              </a:ext>
            </a:extLst>
          </p:cNvPr>
          <p:cNvSpPr>
            <a:spLocks/>
          </p:cNvSpPr>
          <p:nvPr/>
        </p:nvSpPr>
        <p:spPr bwMode="auto">
          <a:xfrm>
            <a:off x="0" y="1227423"/>
            <a:ext cx="8513236" cy="5630577"/>
          </a:xfrm>
          <a:custGeom>
            <a:avLst/>
            <a:gdLst/>
            <a:ahLst/>
            <a:cxnLst/>
            <a:rect l="l" t="t" r="r" b="b"/>
            <a:pathLst>
              <a:path w="8513236" h="5939720">
                <a:moveTo>
                  <a:pt x="0" y="0"/>
                </a:moveTo>
                <a:cubicBezTo>
                  <a:pt x="1267237" y="148192"/>
                  <a:pt x="2295572" y="315238"/>
                  <a:pt x="3057919" y="495651"/>
                </a:cubicBezTo>
                <a:cubicBezTo>
                  <a:pt x="3555058" y="612834"/>
                  <a:pt x="3943667" y="739519"/>
                  <a:pt x="4216743" y="869370"/>
                </a:cubicBezTo>
                <a:cubicBezTo>
                  <a:pt x="4521328" y="1015057"/>
                  <a:pt x="4689375" y="1173412"/>
                  <a:pt x="4713882" y="1334935"/>
                </a:cubicBezTo>
                <a:cubicBezTo>
                  <a:pt x="4804908" y="1965190"/>
                  <a:pt x="4118716" y="2066537"/>
                  <a:pt x="3387011" y="2174219"/>
                </a:cubicBezTo>
                <a:cubicBezTo>
                  <a:pt x="2588788" y="2291402"/>
                  <a:pt x="1766058" y="2411752"/>
                  <a:pt x="1633021" y="3175025"/>
                </a:cubicBezTo>
                <a:cubicBezTo>
                  <a:pt x="1559500" y="3599417"/>
                  <a:pt x="1969115" y="4023810"/>
                  <a:pt x="2844359" y="4435534"/>
                </a:cubicBezTo>
                <a:cubicBezTo>
                  <a:pt x="3555058" y="4771248"/>
                  <a:pt x="4570342" y="5097460"/>
                  <a:pt x="5865704" y="5404669"/>
                </a:cubicBezTo>
                <a:cubicBezTo>
                  <a:pt x="6793025" y="5624727"/>
                  <a:pt x="7733382" y="5804910"/>
                  <a:pt x="8513236" y="5939720"/>
                </a:cubicBezTo>
                <a:lnTo>
                  <a:pt x="8179609" y="5939720"/>
                </a:lnTo>
                <a:cubicBezTo>
                  <a:pt x="7465516" y="5812559"/>
                  <a:pt x="6646676" y="5651037"/>
                  <a:pt x="5837696" y="5458510"/>
                </a:cubicBezTo>
                <a:cubicBezTo>
                  <a:pt x="4538833" y="5148133"/>
                  <a:pt x="3513046" y="4818754"/>
                  <a:pt x="2798847" y="4483041"/>
                </a:cubicBezTo>
                <a:cubicBezTo>
                  <a:pt x="1892093" y="4058648"/>
                  <a:pt x="1471976" y="3615253"/>
                  <a:pt x="1548997" y="3168691"/>
                </a:cubicBezTo>
                <a:cubicBezTo>
                  <a:pt x="1689036" y="2364245"/>
                  <a:pt x="2581786" y="2234394"/>
                  <a:pt x="3369506" y="2117211"/>
                </a:cubicBezTo>
                <a:cubicBezTo>
                  <a:pt x="4090708" y="2012696"/>
                  <a:pt x="4713882" y="1920850"/>
                  <a:pt x="4629859" y="1341269"/>
                </a:cubicBezTo>
                <a:cubicBezTo>
                  <a:pt x="4559122" y="844575"/>
                  <a:pt x="2958673" y="403585"/>
                  <a:pt x="0" y="57926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2" name="Group 61"/>
          <p:cNvGrpSpPr/>
          <p:nvPr/>
        </p:nvGrpSpPr>
        <p:grpSpPr>
          <a:xfrm>
            <a:off x="5636702" y="4874821"/>
            <a:ext cx="1969724" cy="2047043"/>
            <a:chOff x="6453494" y="2317132"/>
            <a:chExt cx="1969724" cy="2047043"/>
          </a:xfrm>
        </p:grpSpPr>
        <p:sp>
          <p:nvSpPr>
            <p:cNvPr id="63" name="Oval 62"/>
            <p:cNvSpPr/>
            <p:nvPr/>
          </p:nvSpPr>
          <p:spPr>
            <a:xfrm>
              <a:off x="6453494" y="3671628"/>
              <a:ext cx="1969724" cy="692547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lumMod val="0"/>
                  </a:schemeClr>
                </a:gs>
                <a:gs pos="100000">
                  <a:schemeClr val="bg1">
                    <a:alpha val="0"/>
                    <a:lumMod val="0"/>
                    <a:lumOff val="10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Oval 63"/>
            <p:cNvSpPr/>
            <p:nvPr/>
          </p:nvSpPr>
          <p:spPr>
            <a:xfrm>
              <a:off x="6581146" y="2317132"/>
              <a:ext cx="1741714" cy="1741714"/>
            </a:xfrm>
            <a:prstGeom prst="ellipse">
              <a:avLst/>
            </a:prstGeom>
            <a:gradFill>
              <a:gsLst>
                <a:gs pos="13000">
                  <a:srgbClr val="0070C0"/>
                </a:gs>
                <a:gs pos="71000">
                  <a:srgbClr val="00B0F0"/>
                </a:gs>
              </a:gsLst>
              <a:lin ang="5400000" scaled="1"/>
            </a:gradFill>
            <a:ln w="12700" cap="flat" cmpd="sng" algn="ctr">
              <a:solidFill>
                <a:srgbClr val="00206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6766204" y="2374552"/>
              <a:ext cx="1371601" cy="1206005"/>
            </a:xfrm>
            <a:prstGeom prst="ellipse">
              <a:avLst/>
            </a:prstGeom>
            <a:gradFill>
              <a:gsLst>
                <a:gs pos="0">
                  <a:sysClr val="window" lastClr="FFFFFF">
                    <a:lumMod val="100000"/>
                    <a:alpha val="80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lin ang="5400000" scaled="1"/>
            </a:gra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6672309" y="2928711"/>
              <a:ext cx="157286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b="1" dirty="0"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SUCCESS</a:t>
              </a:r>
            </a:p>
          </p:txBody>
        </p:sp>
      </p:grpSp>
      <p:grpSp>
        <p:nvGrpSpPr>
          <p:cNvPr id="38" name="Group 37"/>
          <p:cNvGrpSpPr>
            <a:grpSpLocks noChangeAspect="1"/>
          </p:cNvGrpSpPr>
          <p:nvPr/>
        </p:nvGrpSpPr>
        <p:grpSpPr>
          <a:xfrm>
            <a:off x="3279172" y="3048000"/>
            <a:ext cx="988028" cy="1823578"/>
            <a:chOff x="2526619" y="3231420"/>
            <a:chExt cx="1325880" cy="2447151"/>
          </a:xfrm>
        </p:grpSpPr>
        <p:sp>
          <p:nvSpPr>
            <p:cNvPr id="39" name="Rounded Rectangle 38"/>
            <p:cNvSpPr/>
            <p:nvPr/>
          </p:nvSpPr>
          <p:spPr>
            <a:xfrm>
              <a:off x="2526619" y="4539657"/>
              <a:ext cx="1325880" cy="1138914"/>
            </a:xfrm>
            <a:prstGeom prst="roundRect">
              <a:avLst>
                <a:gd name="adj" fmla="val 5138"/>
              </a:avLst>
            </a:prstGeom>
            <a:solidFill>
              <a:srgbClr val="C11D07"/>
            </a:solidFill>
            <a:ln>
              <a:noFill/>
            </a:ln>
            <a:effectLst>
              <a:outerShdw blurRad="317500" dist="38100" dir="5400000" algn="t" rotWithShape="0">
                <a:prstClr val="black">
                  <a:alpha val="65000"/>
                </a:prstClr>
              </a:outerShdw>
            </a:effectLst>
            <a:scene3d>
              <a:camera prst="perspectiveRelaxed" fov="7200000">
                <a:rot lat="17673596" lon="0" rev="0"/>
              </a:camera>
              <a:lightRig rig="threePt" dir="t">
                <a:rot lat="0" lon="0" rev="10200000"/>
              </a:lightRig>
            </a:scene3d>
            <a:sp3d extrusionH="38100" prstMaterial="plastic">
              <a:bevelT w="50800" h="50800"/>
            </a:sp3d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0" name="Isosceles Triangle 35"/>
            <p:cNvSpPr/>
            <p:nvPr/>
          </p:nvSpPr>
          <p:spPr>
            <a:xfrm>
              <a:off x="2701879" y="3231420"/>
              <a:ext cx="975360" cy="2069621"/>
            </a:xfrm>
            <a:custGeom>
              <a:avLst/>
              <a:gdLst>
                <a:gd name="connsiteX0" fmla="*/ 509840 w 975360"/>
                <a:gd name="connsiteY0" fmla="*/ 792 h 2069621"/>
                <a:gd name="connsiteX1" fmla="*/ 563039 w 975360"/>
                <a:gd name="connsiteY1" fmla="*/ 10265 h 2069621"/>
                <a:gd name="connsiteX2" fmla="*/ 975360 w 975360"/>
                <a:gd name="connsiteY2" fmla="*/ 1885811 h 2069621"/>
                <a:gd name="connsiteX3" fmla="*/ 487880 w 975360"/>
                <a:gd name="connsiteY3" fmla="*/ 2069621 h 2069621"/>
                <a:gd name="connsiteX4" fmla="*/ 400 w 975360"/>
                <a:gd name="connsiteY4" fmla="*/ 1885811 h 2069621"/>
                <a:gd name="connsiteX5" fmla="*/ 447 w 975360"/>
                <a:gd name="connsiteY5" fmla="*/ 1885602 h 2069621"/>
                <a:gd name="connsiteX6" fmla="*/ 0 w 975360"/>
                <a:gd name="connsiteY6" fmla="*/ 1885602 h 2069621"/>
                <a:gd name="connsiteX7" fmla="*/ 410486 w 975360"/>
                <a:gd name="connsiteY7" fmla="*/ 8836 h 2069621"/>
                <a:gd name="connsiteX8" fmla="*/ 509840 w 975360"/>
                <a:gd name="connsiteY8" fmla="*/ 792 h 206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5360" h="2069621">
                  <a:moveTo>
                    <a:pt x="509840" y="792"/>
                  </a:moveTo>
                  <a:cubicBezTo>
                    <a:pt x="527756" y="1978"/>
                    <a:pt x="545585" y="4458"/>
                    <a:pt x="563039" y="10265"/>
                  </a:cubicBezTo>
                  <a:lnTo>
                    <a:pt x="975360" y="1885811"/>
                  </a:lnTo>
                  <a:cubicBezTo>
                    <a:pt x="975360" y="2008368"/>
                    <a:pt x="757108" y="2069621"/>
                    <a:pt x="487880" y="2069621"/>
                  </a:cubicBezTo>
                  <a:cubicBezTo>
                    <a:pt x="218652" y="2069621"/>
                    <a:pt x="400" y="2008368"/>
                    <a:pt x="400" y="1885811"/>
                  </a:cubicBezTo>
                  <a:cubicBezTo>
                    <a:pt x="416" y="1885741"/>
                    <a:pt x="431" y="1885671"/>
                    <a:pt x="447" y="1885602"/>
                  </a:cubicBezTo>
                  <a:lnTo>
                    <a:pt x="0" y="1885602"/>
                  </a:lnTo>
                  <a:lnTo>
                    <a:pt x="410486" y="8836"/>
                  </a:lnTo>
                  <a:cubicBezTo>
                    <a:pt x="444336" y="757"/>
                    <a:pt x="477232" y="-1367"/>
                    <a:pt x="509840" y="792"/>
                  </a:cubicBezTo>
                  <a:close/>
                </a:path>
              </a:pathLst>
            </a:custGeom>
            <a:gradFill>
              <a:gsLst>
                <a:gs pos="0">
                  <a:srgbClr val="F82306"/>
                </a:gs>
                <a:gs pos="100000">
                  <a:srgbClr val="A01704"/>
                </a:gs>
                <a:gs pos="40000">
                  <a:srgbClr val="F83B22"/>
                </a:gs>
              </a:gsLst>
              <a:lin ang="240000" scaled="0"/>
            </a:gradFill>
            <a:ln>
              <a:noFill/>
            </a:ln>
            <a:effectLst>
              <a:innerShdw blurRad="317500" dist="50800" dir="3000000">
                <a:prstClr val="black">
                  <a:alpha val="35000"/>
                </a:prstClr>
              </a:inn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1" name="Isosceles Triangle 35"/>
            <p:cNvSpPr/>
            <p:nvPr/>
          </p:nvSpPr>
          <p:spPr>
            <a:xfrm>
              <a:off x="2753496" y="4525954"/>
              <a:ext cx="860697" cy="384360"/>
            </a:xfrm>
            <a:custGeom>
              <a:avLst/>
              <a:gdLst/>
              <a:ahLst/>
              <a:cxnLst/>
              <a:rect l="l" t="t" r="r" b="b"/>
              <a:pathLst>
                <a:path w="860697" h="384360">
                  <a:moveTo>
                    <a:pt x="70995" y="0"/>
                  </a:moveTo>
                  <a:cubicBezTo>
                    <a:pt x="181101" y="30977"/>
                    <a:pt x="302713" y="47879"/>
                    <a:pt x="430508" y="47879"/>
                  </a:cubicBezTo>
                  <a:cubicBezTo>
                    <a:pt x="558047" y="47879"/>
                    <a:pt x="679426" y="31045"/>
                    <a:pt x="789368" y="226"/>
                  </a:cubicBezTo>
                  <a:lnTo>
                    <a:pt x="860697" y="324684"/>
                  </a:lnTo>
                  <a:cubicBezTo>
                    <a:pt x="727135" y="363624"/>
                    <a:pt x="582050" y="384360"/>
                    <a:pt x="430508" y="384360"/>
                  </a:cubicBezTo>
                  <a:cubicBezTo>
                    <a:pt x="278845" y="384360"/>
                    <a:pt x="133651" y="363591"/>
                    <a:pt x="0" y="324596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8F8F8"/>
                </a:gs>
                <a:gs pos="100000">
                  <a:srgbClr val="969696"/>
                </a:gs>
              </a:gsLst>
              <a:lin ang="0" scaled="1"/>
              <a:tileRect/>
            </a:gradFill>
            <a:ln w="12700" cap="rnd"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2" name="Isosceles Triangle 35"/>
            <p:cNvSpPr/>
            <p:nvPr/>
          </p:nvSpPr>
          <p:spPr>
            <a:xfrm>
              <a:off x="2882253" y="3951642"/>
              <a:ext cx="603182" cy="353398"/>
            </a:xfrm>
            <a:custGeom>
              <a:avLst/>
              <a:gdLst/>
              <a:ahLst/>
              <a:cxnLst/>
              <a:rect l="l" t="t" r="r" b="b"/>
              <a:pathLst>
                <a:path w="603182" h="353398">
                  <a:moveTo>
                    <a:pt x="68157" y="0"/>
                  </a:moveTo>
                  <a:cubicBezTo>
                    <a:pt x="141180" y="21147"/>
                    <a:pt x="220051" y="31240"/>
                    <a:pt x="302056" y="31240"/>
                  </a:cubicBezTo>
                  <a:cubicBezTo>
                    <a:pt x="383587" y="31240"/>
                    <a:pt x="462020" y="21263"/>
                    <a:pt x="534675" y="299"/>
                  </a:cubicBezTo>
                  <a:lnTo>
                    <a:pt x="603182" y="311919"/>
                  </a:lnTo>
                  <a:cubicBezTo>
                    <a:pt x="508278" y="338955"/>
                    <a:pt x="407075" y="353398"/>
                    <a:pt x="302056" y="353398"/>
                  </a:cubicBezTo>
                  <a:cubicBezTo>
                    <a:pt x="196690" y="353398"/>
                    <a:pt x="95166" y="338859"/>
                    <a:pt x="0" y="311618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8F8F8"/>
                </a:gs>
                <a:gs pos="100000">
                  <a:srgbClr val="969696"/>
                </a:gs>
              </a:gsLst>
              <a:lin ang="0" scaled="1"/>
              <a:tileRect/>
            </a:gradFill>
            <a:ln w="12700" cap="rnd"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3" name="Isosceles Triangle 35"/>
            <p:cNvSpPr/>
            <p:nvPr/>
          </p:nvSpPr>
          <p:spPr>
            <a:xfrm>
              <a:off x="3006985" y="3432205"/>
              <a:ext cx="353718" cy="280374"/>
            </a:xfrm>
            <a:custGeom>
              <a:avLst/>
              <a:gdLst/>
              <a:ahLst/>
              <a:cxnLst/>
              <a:rect l="l" t="t" r="r" b="b"/>
              <a:pathLst>
                <a:path w="353718" h="280374">
                  <a:moveTo>
                    <a:pt x="56505" y="0"/>
                  </a:moveTo>
                  <a:cubicBezTo>
                    <a:pt x="95458" y="7520"/>
                    <a:pt x="136018" y="11189"/>
                    <a:pt x="177626" y="11189"/>
                  </a:cubicBezTo>
                  <a:cubicBezTo>
                    <a:pt x="218579" y="11189"/>
                    <a:pt x="258515" y="7635"/>
                    <a:pt x="296925" y="462"/>
                  </a:cubicBezTo>
                  <a:lnTo>
                    <a:pt x="353718" y="258800"/>
                  </a:lnTo>
                  <a:cubicBezTo>
                    <a:pt x="297487" y="273547"/>
                    <a:pt x="238387" y="280374"/>
                    <a:pt x="177626" y="280374"/>
                  </a:cubicBezTo>
                  <a:cubicBezTo>
                    <a:pt x="116307" y="280374"/>
                    <a:pt x="56679" y="273421"/>
                    <a:pt x="0" y="2583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8F8F8"/>
                </a:gs>
                <a:gs pos="100000">
                  <a:srgbClr val="969696"/>
                </a:gs>
              </a:gsLst>
              <a:lin ang="0" scaled="1"/>
              <a:tileRect/>
            </a:gradFill>
            <a:ln w="12700" cap="rnd"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4" name="Isosceles Triangle 35"/>
            <p:cNvSpPr/>
            <p:nvPr/>
          </p:nvSpPr>
          <p:spPr>
            <a:xfrm>
              <a:off x="2792584" y="3232362"/>
              <a:ext cx="378767" cy="2058550"/>
            </a:xfrm>
            <a:custGeom>
              <a:avLst/>
              <a:gdLst/>
              <a:ahLst/>
              <a:cxnLst/>
              <a:rect l="l" t="t" r="r" b="b"/>
              <a:pathLst>
                <a:path w="378767" h="2058550">
                  <a:moveTo>
                    <a:pt x="378767" y="0"/>
                  </a:moveTo>
                  <a:lnTo>
                    <a:pt x="221834" y="2058550"/>
                  </a:lnTo>
                  <a:cubicBezTo>
                    <a:pt x="131841" y="2048309"/>
                    <a:pt x="54775" y="2028807"/>
                    <a:pt x="0" y="1999947"/>
                  </a:cubicBezTo>
                  <a:lnTo>
                    <a:pt x="259148" y="285117"/>
                  </a:lnTo>
                  <a:lnTo>
                    <a:pt x="319782" y="7894"/>
                  </a:lnTo>
                  <a:cubicBezTo>
                    <a:pt x="339721" y="3135"/>
                    <a:pt x="359328" y="443"/>
                    <a:pt x="378767" y="0"/>
                  </a:cubicBez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5" name="Isosceles Triangle 35"/>
            <p:cNvSpPr/>
            <p:nvPr/>
          </p:nvSpPr>
          <p:spPr>
            <a:xfrm>
              <a:off x="3081496" y="3232259"/>
              <a:ext cx="153711" cy="2068782"/>
            </a:xfrm>
            <a:custGeom>
              <a:avLst/>
              <a:gdLst/>
              <a:ahLst/>
              <a:cxnLst/>
              <a:rect l="l" t="t" r="r" b="b"/>
              <a:pathLst>
                <a:path w="153711" h="2068782">
                  <a:moveTo>
                    <a:pt x="117624" y="0"/>
                  </a:moveTo>
                  <a:lnTo>
                    <a:pt x="153711" y="2067454"/>
                  </a:lnTo>
                  <a:cubicBezTo>
                    <a:pt x="138761" y="2068584"/>
                    <a:pt x="123595" y="2068782"/>
                    <a:pt x="108264" y="2068782"/>
                  </a:cubicBezTo>
                  <a:cubicBezTo>
                    <a:pt x="71048" y="2068782"/>
                    <a:pt x="34806" y="2067612"/>
                    <a:pt x="0" y="2064968"/>
                  </a:cubicBezTo>
                  <a:lnTo>
                    <a:pt x="100882" y="62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47" name="Group 46"/>
          <p:cNvGrpSpPr>
            <a:grpSpLocks noChangeAspect="1"/>
          </p:cNvGrpSpPr>
          <p:nvPr/>
        </p:nvGrpSpPr>
        <p:grpSpPr>
          <a:xfrm>
            <a:off x="247689" y="986390"/>
            <a:ext cx="419020" cy="773375"/>
            <a:chOff x="2526619" y="3231420"/>
            <a:chExt cx="1325880" cy="2447151"/>
          </a:xfrm>
        </p:grpSpPr>
        <p:sp>
          <p:nvSpPr>
            <p:cNvPr id="48" name="Rounded Rectangle 47"/>
            <p:cNvSpPr/>
            <p:nvPr/>
          </p:nvSpPr>
          <p:spPr>
            <a:xfrm>
              <a:off x="2526619" y="4539657"/>
              <a:ext cx="1325880" cy="1138914"/>
            </a:xfrm>
            <a:prstGeom prst="roundRect">
              <a:avLst>
                <a:gd name="adj" fmla="val 5138"/>
              </a:avLst>
            </a:prstGeom>
            <a:solidFill>
              <a:srgbClr val="C11D07"/>
            </a:solidFill>
            <a:ln>
              <a:noFill/>
            </a:ln>
            <a:effectLst>
              <a:outerShdw blurRad="317500" dist="38100" dir="5400000" algn="t" rotWithShape="0">
                <a:prstClr val="black">
                  <a:alpha val="65000"/>
                </a:prstClr>
              </a:outerShdw>
            </a:effectLst>
            <a:scene3d>
              <a:camera prst="perspectiveRelaxed" fov="7200000">
                <a:rot lat="17673596" lon="0" rev="0"/>
              </a:camera>
              <a:lightRig rig="threePt" dir="t">
                <a:rot lat="0" lon="0" rev="10200000"/>
              </a:lightRig>
            </a:scene3d>
            <a:sp3d extrusionH="38100" prstMaterial="plastic">
              <a:bevelT w="50800" h="50800"/>
            </a:sp3d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9" name="Isosceles Triangle 35"/>
            <p:cNvSpPr/>
            <p:nvPr/>
          </p:nvSpPr>
          <p:spPr>
            <a:xfrm>
              <a:off x="2701879" y="3231420"/>
              <a:ext cx="975360" cy="2069621"/>
            </a:xfrm>
            <a:custGeom>
              <a:avLst/>
              <a:gdLst>
                <a:gd name="connsiteX0" fmla="*/ 509840 w 975360"/>
                <a:gd name="connsiteY0" fmla="*/ 792 h 2069621"/>
                <a:gd name="connsiteX1" fmla="*/ 563039 w 975360"/>
                <a:gd name="connsiteY1" fmla="*/ 10265 h 2069621"/>
                <a:gd name="connsiteX2" fmla="*/ 975360 w 975360"/>
                <a:gd name="connsiteY2" fmla="*/ 1885811 h 2069621"/>
                <a:gd name="connsiteX3" fmla="*/ 487880 w 975360"/>
                <a:gd name="connsiteY3" fmla="*/ 2069621 h 2069621"/>
                <a:gd name="connsiteX4" fmla="*/ 400 w 975360"/>
                <a:gd name="connsiteY4" fmla="*/ 1885811 h 2069621"/>
                <a:gd name="connsiteX5" fmla="*/ 447 w 975360"/>
                <a:gd name="connsiteY5" fmla="*/ 1885602 h 2069621"/>
                <a:gd name="connsiteX6" fmla="*/ 0 w 975360"/>
                <a:gd name="connsiteY6" fmla="*/ 1885602 h 2069621"/>
                <a:gd name="connsiteX7" fmla="*/ 410486 w 975360"/>
                <a:gd name="connsiteY7" fmla="*/ 8836 h 2069621"/>
                <a:gd name="connsiteX8" fmla="*/ 509840 w 975360"/>
                <a:gd name="connsiteY8" fmla="*/ 792 h 206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75360" h="2069621">
                  <a:moveTo>
                    <a:pt x="509840" y="792"/>
                  </a:moveTo>
                  <a:cubicBezTo>
                    <a:pt x="527756" y="1978"/>
                    <a:pt x="545585" y="4458"/>
                    <a:pt x="563039" y="10265"/>
                  </a:cubicBezTo>
                  <a:lnTo>
                    <a:pt x="975360" y="1885811"/>
                  </a:lnTo>
                  <a:cubicBezTo>
                    <a:pt x="975360" y="2008368"/>
                    <a:pt x="757108" y="2069621"/>
                    <a:pt x="487880" y="2069621"/>
                  </a:cubicBezTo>
                  <a:cubicBezTo>
                    <a:pt x="218652" y="2069621"/>
                    <a:pt x="400" y="2008368"/>
                    <a:pt x="400" y="1885811"/>
                  </a:cubicBezTo>
                  <a:cubicBezTo>
                    <a:pt x="416" y="1885741"/>
                    <a:pt x="431" y="1885671"/>
                    <a:pt x="447" y="1885602"/>
                  </a:cubicBezTo>
                  <a:lnTo>
                    <a:pt x="0" y="1885602"/>
                  </a:lnTo>
                  <a:lnTo>
                    <a:pt x="410486" y="8836"/>
                  </a:lnTo>
                  <a:cubicBezTo>
                    <a:pt x="444336" y="757"/>
                    <a:pt x="477232" y="-1367"/>
                    <a:pt x="509840" y="792"/>
                  </a:cubicBezTo>
                  <a:close/>
                </a:path>
              </a:pathLst>
            </a:custGeom>
            <a:gradFill>
              <a:gsLst>
                <a:gs pos="0">
                  <a:srgbClr val="F82306"/>
                </a:gs>
                <a:gs pos="100000">
                  <a:srgbClr val="A01704"/>
                </a:gs>
                <a:gs pos="40000">
                  <a:srgbClr val="F83B22"/>
                </a:gs>
              </a:gsLst>
              <a:lin ang="240000" scaled="0"/>
            </a:gradFill>
            <a:ln>
              <a:noFill/>
            </a:ln>
            <a:effectLst>
              <a:innerShdw blurRad="317500" dist="50800" dir="3000000">
                <a:prstClr val="black">
                  <a:alpha val="35000"/>
                </a:prstClr>
              </a:inn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0" name="Isosceles Triangle 35"/>
            <p:cNvSpPr/>
            <p:nvPr/>
          </p:nvSpPr>
          <p:spPr>
            <a:xfrm>
              <a:off x="2753496" y="4525954"/>
              <a:ext cx="860697" cy="384360"/>
            </a:xfrm>
            <a:custGeom>
              <a:avLst/>
              <a:gdLst/>
              <a:ahLst/>
              <a:cxnLst/>
              <a:rect l="l" t="t" r="r" b="b"/>
              <a:pathLst>
                <a:path w="860697" h="384360">
                  <a:moveTo>
                    <a:pt x="70995" y="0"/>
                  </a:moveTo>
                  <a:cubicBezTo>
                    <a:pt x="181101" y="30977"/>
                    <a:pt x="302713" y="47879"/>
                    <a:pt x="430508" y="47879"/>
                  </a:cubicBezTo>
                  <a:cubicBezTo>
                    <a:pt x="558047" y="47879"/>
                    <a:pt x="679426" y="31045"/>
                    <a:pt x="789368" y="226"/>
                  </a:cubicBezTo>
                  <a:lnTo>
                    <a:pt x="860697" y="324684"/>
                  </a:lnTo>
                  <a:cubicBezTo>
                    <a:pt x="727135" y="363624"/>
                    <a:pt x="582050" y="384360"/>
                    <a:pt x="430508" y="384360"/>
                  </a:cubicBezTo>
                  <a:cubicBezTo>
                    <a:pt x="278845" y="384360"/>
                    <a:pt x="133651" y="363591"/>
                    <a:pt x="0" y="324596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8F8F8"/>
                </a:gs>
                <a:gs pos="100000">
                  <a:srgbClr val="969696"/>
                </a:gs>
              </a:gsLst>
              <a:lin ang="0" scaled="1"/>
              <a:tileRect/>
            </a:gradFill>
            <a:ln w="12700" cap="rnd"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1" name="Isosceles Triangle 35"/>
            <p:cNvSpPr/>
            <p:nvPr/>
          </p:nvSpPr>
          <p:spPr>
            <a:xfrm>
              <a:off x="2882253" y="3951642"/>
              <a:ext cx="603182" cy="353398"/>
            </a:xfrm>
            <a:custGeom>
              <a:avLst/>
              <a:gdLst/>
              <a:ahLst/>
              <a:cxnLst/>
              <a:rect l="l" t="t" r="r" b="b"/>
              <a:pathLst>
                <a:path w="603182" h="353398">
                  <a:moveTo>
                    <a:pt x="68157" y="0"/>
                  </a:moveTo>
                  <a:cubicBezTo>
                    <a:pt x="141180" y="21147"/>
                    <a:pt x="220051" y="31240"/>
                    <a:pt x="302056" y="31240"/>
                  </a:cubicBezTo>
                  <a:cubicBezTo>
                    <a:pt x="383587" y="31240"/>
                    <a:pt x="462020" y="21263"/>
                    <a:pt x="534675" y="299"/>
                  </a:cubicBezTo>
                  <a:lnTo>
                    <a:pt x="603182" y="311919"/>
                  </a:lnTo>
                  <a:cubicBezTo>
                    <a:pt x="508278" y="338955"/>
                    <a:pt x="407075" y="353398"/>
                    <a:pt x="302056" y="353398"/>
                  </a:cubicBezTo>
                  <a:cubicBezTo>
                    <a:pt x="196690" y="353398"/>
                    <a:pt x="95166" y="338859"/>
                    <a:pt x="0" y="311618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8F8F8"/>
                </a:gs>
                <a:gs pos="100000">
                  <a:srgbClr val="969696"/>
                </a:gs>
              </a:gsLst>
              <a:lin ang="0" scaled="1"/>
              <a:tileRect/>
            </a:gradFill>
            <a:ln w="12700" cap="rnd"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2" name="Isosceles Triangle 35"/>
            <p:cNvSpPr/>
            <p:nvPr/>
          </p:nvSpPr>
          <p:spPr>
            <a:xfrm>
              <a:off x="3006985" y="3432205"/>
              <a:ext cx="353718" cy="280374"/>
            </a:xfrm>
            <a:custGeom>
              <a:avLst/>
              <a:gdLst/>
              <a:ahLst/>
              <a:cxnLst/>
              <a:rect l="l" t="t" r="r" b="b"/>
              <a:pathLst>
                <a:path w="353718" h="280374">
                  <a:moveTo>
                    <a:pt x="56505" y="0"/>
                  </a:moveTo>
                  <a:cubicBezTo>
                    <a:pt x="95458" y="7520"/>
                    <a:pt x="136018" y="11189"/>
                    <a:pt x="177626" y="11189"/>
                  </a:cubicBezTo>
                  <a:cubicBezTo>
                    <a:pt x="218579" y="11189"/>
                    <a:pt x="258515" y="7635"/>
                    <a:pt x="296925" y="462"/>
                  </a:cubicBezTo>
                  <a:lnTo>
                    <a:pt x="353718" y="258800"/>
                  </a:lnTo>
                  <a:cubicBezTo>
                    <a:pt x="297487" y="273547"/>
                    <a:pt x="238387" y="280374"/>
                    <a:pt x="177626" y="280374"/>
                  </a:cubicBezTo>
                  <a:cubicBezTo>
                    <a:pt x="116307" y="280374"/>
                    <a:pt x="56679" y="273421"/>
                    <a:pt x="0" y="2583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8F8F8"/>
                </a:gs>
                <a:gs pos="100000">
                  <a:srgbClr val="969696"/>
                </a:gs>
              </a:gsLst>
              <a:lin ang="0" scaled="1"/>
              <a:tileRect/>
            </a:gradFill>
            <a:ln w="12700" cap="rnd"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3" name="Isosceles Triangle 35"/>
            <p:cNvSpPr/>
            <p:nvPr/>
          </p:nvSpPr>
          <p:spPr>
            <a:xfrm>
              <a:off x="2792584" y="3232362"/>
              <a:ext cx="378767" cy="2058550"/>
            </a:xfrm>
            <a:custGeom>
              <a:avLst/>
              <a:gdLst/>
              <a:ahLst/>
              <a:cxnLst/>
              <a:rect l="l" t="t" r="r" b="b"/>
              <a:pathLst>
                <a:path w="378767" h="2058550">
                  <a:moveTo>
                    <a:pt x="378767" y="0"/>
                  </a:moveTo>
                  <a:lnTo>
                    <a:pt x="221834" y="2058550"/>
                  </a:lnTo>
                  <a:cubicBezTo>
                    <a:pt x="131841" y="2048309"/>
                    <a:pt x="54775" y="2028807"/>
                    <a:pt x="0" y="1999947"/>
                  </a:cubicBezTo>
                  <a:lnTo>
                    <a:pt x="259148" y="285117"/>
                  </a:lnTo>
                  <a:lnTo>
                    <a:pt x="319782" y="7894"/>
                  </a:lnTo>
                  <a:cubicBezTo>
                    <a:pt x="339721" y="3135"/>
                    <a:pt x="359328" y="443"/>
                    <a:pt x="378767" y="0"/>
                  </a:cubicBez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4" name="Isosceles Triangle 35"/>
            <p:cNvSpPr/>
            <p:nvPr/>
          </p:nvSpPr>
          <p:spPr>
            <a:xfrm>
              <a:off x="3081496" y="3232259"/>
              <a:ext cx="153711" cy="2068782"/>
            </a:xfrm>
            <a:custGeom>
              <a:avLst/>
              <a:gdLst/>
              <a:ahLst/>
              <a:cxnLst/>
              <a:rect l="l" t="t" r="r" b="b"/>
              <a:pathLst>
                <a:path w="153711" h="2068782">
                  <a:moveTo>
                    <a:pt x="117624" y="0"/>
                  </a:moveTo>
                  <a:lnTo>
                    <a:pt x="153711" y="2067454"/>
                  </a:lnTo>
                  <a:cubicBezTo>
                    <a:pt x="138761" y="2068584"/>
                    <a:pt x="123595" y="2068782"/>
                    <a:pt x="108264" y="2068782"/>
                  </a:cubicBezTo>
                  <a:cubicBezTo>
                    <a:pt x="71048" y="2068782"/>
                    <a:pt x="34806" y="2067612"/>
                    <a:pt x="0" y="2064968"/>
                  </a:cubicBezTo>
                  <a:lnTo>
                    <a:pt x="100882" y="62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659971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4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/>
        </p:nvGrpSpPr>
        <p:grpSpPr>
          <a:xfrm>
            <a:off x="152400" y="914400"/>
            <a:ext cx="2971800" cy="5029200"/>
            <a:chOff x="5471532" y="720272"/>
            <a:chExt cx="2986668" cy="4515895"/>
          </a:xfrm>
        </p:grpSpPr>
        <p:sp>
          <p:nvSpPr>
            <p:cNvPr id="29" name="Rectangle 28"/>
            <p:cNvSpPr/>
            <p:nvPr/>
          </p:nvSpPr>
          <p:spPr>
            <a:xfrm>
              <a:off x="5471532" y="720272"/>
              <a:ext cx="2986668" cy="273691"/>
            </a:xfrm>
            <a:prstGeom prst="rect">
              <a:avLst/>
            </a:prstGeom>
            <a:gradFill flip="none" rotWithShape="1">
              <a:gsLst>
                <a:gs pos="0">
                  <a:srgbClr val="2579C5">
                    <a:shade val="30000"/>
                    <a:satMod val="115000"/>
                  </a:srgbClr>
                </a:gs>
                <a:gs pos="50000">
                  <a:srgbClr val="2579C5">
                    <a:shade val="67500"/>
                    <a:satMod val="115000"/>
                  </a:srgbClr>
                </a:gs>
                <a:gs pos="100000">
                  <a:srgbClr val="2579C5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 w="1905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000" b="1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Μετεωρολογία</a:t>
              </a: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5471532" y="966951"/>
              <a:ext cx="2986668" cy="4269216"/>
            </a:xfrm>
            <a:prstGeom prst="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91440" tIns="91440" rIns="91440" bIns="91440" rtlCol="0" anchor="t"/>
            <a:lstStyle/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r>
                <a:rPr lang="el-GR" kern="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Κλάδος των Φυσικών επιστημών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  <a:defRPr/>
              </a:pPr>
              <a:r>
                <a:rPr lang="el-GR" kern="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Αντικείμενο:</a:t>
              </a:r>
            </a:p>
            <a:p>
              <a:pPr>
                <a:buFont typeface="Wingdings" pitchFamily="2" charset="2"/>
                <a:buChar char="ü"/>
                <a:defRPr/>
              </a:pPr>
              <a:r>
                <a:rPr lang="el-GR" kern="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Μελέτη των φαινομένων της ατμόσφαιρα της γης και διερεύνηση των αιτιών που προκαλούν μεταβολές σε αυτά (έτσι προκύπτει η πρόγνωση του καιρού)</a:t>
              </a:r>
            </a:p>
            <a:p>
              <a:pPr>
                <a:buFont typeface="Wingdings" pitchFamily="2" charset="2"/>
                <a:buChar char="ü"/>
                <a:defRPr/>
              </a:pPr>
              <a:r>
                <a:rPr lang="el-GR" kern="0" dirty="0">
                  <a:solidFill>
                    <a:sysClr val="windowText" lastClr="000000">
                      <a:lumMod val="85000"/>
                      <a:lumOff val="15000"/>
                    </a:sys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Μελέτη της εξαρτημένης συμπεριφορά των μετεωρολογικών μεταβλητών και των αλληλεπιδράσεών τους με την επιφάνεια της γης, τους ωκεανούς και τα έμβια όντα.</a:t>
              </a:r>
              <a:endParaRPr lang="en-US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lvl="1">
                <a:buFont typeface="Wingdings" pitchFamily="2" charset="2"/>
                <a:buChar char="ü"/>
                <a:defRPr/>
              </a:pPr>
              <a:endParaRPr lang="el-GR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6" name="Title 3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11081"/>
          </a:xfrm>
        </p:spPr>
        <p:txBody>
          <a:bodyPr>
            <a:normAutofit/>
          </a:bodyPr>
          <a:lstStyle/>
          <a:p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Εισαγωγικά στοιχεία</a:t>
            </a:r>
            <a:endParaRPr lang="en-US" sz="40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" name="Ομάδα 1">
            <a:extLst>
              <a:ext uri="{FF2B5EF4-FFF2-40B4-BE49-F238E27FC236}">
                <a16:creationId xmlns:a16="http://schemas.microsoft.com/office/drawing/2014/main" id="{51A6A729-BB5D-4704-9405-2E99EF0B65ED}"/>
              </a:ext>
            </a:extLst>
          </p:cNvPr>
          <p:cNvGrpSpPr/>
          <p:nvPr/>
        </p:nvGrpSpPr>
        <p:grpSpPr>
          <a:xfrm>
            <a:off x="3276600" y="2209800"/>
            <a:ext cx="6096000" cy="4533760"/>
            <a:chOff x="3276600" y="2209800"/>
            <a:chExt cx="6096000" cy="4533760"/>
          </a:xfrm>
        </p:grpSpPr>
        <p:grpSp>
          <p:nvGrpSpPr>
            <p:cNvPr id="23" name="Group 24"/>
            <p:cNvGrpSpPr/>
            <p:nvPr/>
          </p:nvGrpSpPr>
          <p:grpSpPr>
            <a:xfrm>
              <a:off x="3357645" y="2209800"/>
              <a:ext cx="5710155" cy="4533760"/>
              <a:chOff x="194833" y="225762"/>
              <a:chExt cx="8586666" cy="6267655"/>
            </a:xfrm>
          </p:grpSpPr>
          <p:sp>
            <p:nvSpPr>
              <p:cNvPr id="31" name="Oval 30"/>
              <p:cNvSpPr/>
              <p:nvPr/>
            </p:nvSpPr>
            <p:spPr>
              <a:xfrm rot="120000">
                <a:off x="287156" y="1314633"/>
                <a:ext cx="2285209" cy="1552590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  <a:effectLst>
                <a:outerShdw blurRad="266700" dist="127000" dir="588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18899981" lon="0" rev="120000"/>
                </a:camera>
                <a:lightRig rig="twoPt" dir="t"/>
              </a:scene3d>
              <a:sp3d extrusionH="311150" prstMaterial="plastic">
                <a:bevelT h="0" prst="relaxedInset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  <a:latin typeface="Franklin Gothic Medium" pitchFamily="34" charset="0"/>
                  <a:cs typeface="Arial" pitchFamily="34" charset="0"/>
                </a:endParaRPr>
              </a:p>
            </p:txBody>
          </p:sp>
          <p:sp>
            <p:nvSpPr>
              <p:cNvPr id="32" name="Oval 31"/>
              <p:cNvSpPr/>
              <p:nvPr/>
            </p:nvSpPr>
            <p:spPr>
              <a:xfrm rot="120000">
                <a:off x="2539731" y="225762"/>
                <a:ext cx="2666397" cy="1649121"/>
              </a:xfrm>
              <a:prstGeom prst="ellipse">
                <a:avLst/>
              </a:prstGeom>
              <a:solidFill>
                <a:srgbClr val="118EA7"/>
              </a:solidFill>
              <a:ln>
                <a:noFill/>
              </a:ln>
              <a:effectLst>
                <a:outerShdw blurRad="266700" dist="127000" dir="588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18899981" lon="0" rev="120000"/>
                </a:camera>
                <a:lightRig rig="twoPt" dir="t"/>
              </a:scene3d>
              <a:sp3d extrusionH="311150" prstMaterial="plastic">
                <a:bevelT h="0" prst="relaxedInset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  <a:latin typeface="Franklin Gothic Medium" pitchFamily="34" charset="0"/>
                  <a:cs typeface="Arial" pitchFamily="34" charset="0"/>
                </a:endParaRPr>
              </a:p>
            </p:txBody>
          </p:sp>
          <p:sp>
            <p:nvSpPr>
              <p:cNvPr id="33" name="Oval 32"/>
              <p:cNvSpPr/>
              <p:nvPr/>
            </p:nvSpPr>
            <p:spPr>
              <a:xfrm rot="120000">
                <a:off x="5853655" y="750625"/>
                <a:ext cx="2133109" cy="1649121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  <a:effectLst>
                <a:outerShdw blurRad="266700" dist="127000" dir="588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18899981" lon="0" rev="120000"/>
                </a:camera>
                <a:lightRig rig="twoPt" dir="t"/>
              </a:scene3d>
              <a:sp3d extrusionH="311150" prstMaterial="plastic">
                <a:bevelT h="0" prst="relaxedInset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  <a:latin typeface="Franklin Gothic Medium" pitchFamily="34" charset="0"/>
                  <a:cs typeface="Arial" pitchFamily="34" charset="0"/>
                </a:endParaRPr>
              </a:p>
            </p:txBody>
          </p:sp>
          <p:sp>
            <p:nvSpPr>
              <p:cNvPr id="34" name="Rectangle 33"/>
              <p:cNvSpPr/>
              <p:nvPr/>
            </p:nvSpPr>
            <p:spPr>
              <a:xfrm rot="2078120">
                <a:off x="2140464" y="2640848"/>
                <a:ext cx="905952" cy="143777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  <a:effectLst>
                <a:outerShdw blurRad="266700" dist="127000" dir="588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19062480" lon="1651281" rev="20568397"/>
                </a:camera>
                <a:lightRig rig="twoPt" dir="t"/>
              </a:scene3d>
              <a:sp3d extrusionH="311150" prstMaterial="plastic">
                <a:bevelT h="0" prst="relaxedInset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>
                  <a:latin typeface="Arial Black" pitchFamily="34" charset="0"/>
                </a:endParaRPr>
              </a:p>
            </p:txBody>
          </p:sp>
          <p:sp>
            <p:nvSpPr>
              <p:cNvPr id="35" name="Rectangle 34"/>
              <p:cNvSpPr/>
              <p:nvPr/>
            </p:nvSpPr>
            <p:spPr>
              <a:xfrm rot="5227964">
                <a:off x="3482939" y="2097053"/>
                <a:ext cx="1188720" cy="143777"/>
              </a:xfrm>
              <a:prstGeom prst="rect">
                <a:avLst/>
              </a:prstGeom>
              <a:solidFill>
                <a:srgbClr val="118EA7"/>
              </a:solidFill>
              <a:ln>
                <a:noFill/>
              </a:ln>
              <a:effectLst>
                <a:outerShdw blurRad="266700" dist="127000" dir="588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21213039" lon="1351307" rev="147934"/>
                </a:camera>
                <a:lightRig rig="twoPt" dir="t"/>
              </a:scene3d>
              <a:sp3d extrusionH="311150" prstMaterial="plastic">
                <a:bevelT h="0" prst="relaxedInset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>
                  <a:latin typeface="Arial Black" pitchFamily="34" charset="0"/>
                </a:endParaRPr>
              </a:p>
            </p:txBody>
          </p:sp>
          <p:sp>
            <p:nvSpPr>
              <p:cNvPr id="36" name="Rectangle 35"/>
              <p:cNvSpPr/>
              <p:nvPr/>
            </p:nvSpPr>
            <p:spPr>
              <a:xfrm rot="7153177">
                <a:off x="5242855" y="2333454"/>
                <a:ext cx="1109472" cy="146304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>
                <a:outerShdw blurRad="266700" dist="127000" dir="588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318229" lon="424405" rev="21461238"/>
                </a:camera>
                <a:lightRig rig="twoPt" dir="t"/>
              </a:scene3d>
              <a:sp3d extrusionH="311150" prstMaterial="plastic">
                <a:bevelT h="0" prst="relaxedInset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>
                  <a:latin typeface="Arial Black" pitchFamily="34" charset="0"/>
                </a:endParaRPr>
              </a:p>
            </p:txBody>
          </p:sp>
          <p:sp>
            <p:nvSpPr>
              <p:cNvPr id="37" name="Rectangle 36"/>
              <p:cNvSpPr/>
              <p:nvPr/>
            </p:nvSpPr>
            <p:spPr>
              <a:xfrm rot="11092697">
                <a:off x="5878974" y="3483811"/>
                <a:ext cx="905952" cy="143777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66700" dist="127000" dir="588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2098194" lon="144227" rev="21103529"/>
                </a:camera>
                <a:lightRig rig="twoPt" dir="t"/>
              </a:scene3d>
              <a:sp3d extrusionH="311150" prstMaterial="plastic">
                <a:bevelT h="0" prst="relaxedInset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>
                  <a:latin typeface="Arial Black" pitchFamily="34" charset="0"/>
                </a:endParaRPr>
              </a:p>
            </p:txBody>
          </p:sp>
          <p:sp>
            <p:nvSpPr>
              <p:cNvPr id="38" name="Oval 37"/>
              <p:cNvSpPr/>
              <p:nvPr/>
            </p:nvSpPr>
            <p:spPr>
              <a:xfrm rot="120000">
                <a:off x="2767928" y="2107431"/>
                <a:ext cx="3154942" cy="2482441"/>
              </a:xfrm>
              <a:prstGeom prst="ellipse">
                <a:avLst/>
              </a:prstGeom>
              <a:solidFill>
                <a:srgbClr val="A00000"/>
              </a:solidFill>
              <a:ln>
                <a:noFill/>
              </a:ln>
              <a:effectLst>
                <a:outerShdw blurRad="266700" dist="127000" dir="588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18899981" lon="0" rev="120000"/>
                </a:camera>
                <a:lightRig rig="twoPt" dir="t"/>
              </a:scene3d>
              <a:sp3d extrusionH="495300" prstMaterial="plastic">
                <a:bevelT h="0" prst="relaxedInset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b="1" dirty="0">
                  <a:latin typeface="Arial Black" pitchFamily="34" charset="0"/>
                </a:endParaRPr>
              </a:p>
            </p:txBody>
          </p:sp>
          <p:sp>
            <p:nvSpPr>
              <p:cNvPr id="39" name="Rectangle 38"/>
              <p:cNvSpPr/>
              <p:nvPr/>
            </p:nvSpPr>
            <p:spPr>
              <a:xfrm rot="14439548">
                <a:off x="4814738" y="4674110"/>
                <a:ext cx="1597761" cy="14630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266700" dist="127000" dir="588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310665" lon="20788771" rev="4715"/>
                </a:camera>
                <a:lightRig rig="twoPt" dir="t"/>
              </a:scene3d>
              <a:sp3d extrusionH="311150" prstMaterial="plastic">
                <a:bevelT h="0" prst="relaxedInset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>
                  <a:latin typeface="Arial Black" pitchFamily="34" charset="0"/>
                </a:endParaRPr>
              </a:p>
            </p:txBody>
          </p:sp>
          <p:sp>
            <p:nvSpPr>
              <p:cNvPr id="40" name="Rectangle 39"/>
              <p:cNvSpPr/>
              <p:nvPr/>
            </p:nvSpPr>
            <p:spPr>
              <a:xfrm rot="16719758">
                <a:off x="2833537" y="4864611"/>
                <a:ext cx="1597761" cy="146304"/>
              </a:xfrm>
              <a:prstGeom prst="rect">
                <a:avLst/>
              </a:prstGeom>
              <a:solidFill>
                <a:srgbClr val="FDDF03"/>
              </a:solidFill>
              <a:ln>
                <a:noFill/>
              </a:ln>
              <a:effectLst>
                <a:outerShdw blurRad="266700" dist="127000" dir="588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21331322" lon="20774885" rev="160289"/>
                </a:camera>
                <a:lightRig rig="twoPt" dir="t"/>
              </a:scene3d>
              <a:sp3d extrusionH="311150" prstMaterial="plastic">
                <a:bevelT h="0" prst="relaxedInset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>
                  <a:latin typeface="Arial Black" pitchFamily="34" charset="0"/>
                </a:endParaRPr>
              </a:p>
            </p:txBody>
          </p:sp>
          <p:sp>
            <p:nvSpPr>
              <p:cNvPr id="41" name="Rectangle 40"/>
              <p:cNvSpPr/>
              <p:nvPr/>
            </p:nvSpPr>
            <p:spPr>
              <a:xfrm rot="19498261">
                <a:off x="1424715" y="4065233"/>
                <a:ext cx="1597761" cy="146304"/>
              </a:xfrm>
              <a:prstGeom prst="rect">
                <a:avLst/>
              </a:prstGeom>
              <a:gradFill flip="none" rotWithShape="1">
                <a:gsLst>
                  <a:gs pos="0">
                    <a:srgbClr val="92D050">
                      <a:shade val="30000"/>
                      <a:satMod val="115000"/>
                    </a:srgbClr>
                  </a:gs>
                  <a:gs pos="12000">
                    <a:srgbClr val="92D050">
                      <a:shade val="67500"/>
                      <a:satMod val="115000"/>
                    </a:srgbClr>
                  </a:gs>
                  <a:gs pos="100000">
                    <a:srgbClr val="92D050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>
                <a:noFill/>
              </a:ln>
              <a:effectLst>
                <a:outerShdw blurRad="266700" dist="127000" dir="588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20699206" lon="62106" rev="87844"/>
                </a:camera>
                <a:lightRig rig="twoPt" dir="t"/>
              </a:scene3d>
              <a:sp3d extrusionH="311150" prstMaterial="plastic">
                <a:bevelT h="0" prst="relaxedInset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>
                  <a:latin typeface="Arial Black" pitchFamily="34" charset="0"/>
                </a:endParaRPr>
              </a:p>
            </p:txBody>
          </p:sp>
          <p:sp>
            <p:nvSpPr>
              <p:cNvPr id="42" name="Oval 41"/>
              <p:cNvSpPr/>
              <p:nvPr/>
            </p:nvSpPr>
            <p:spPr>
              <a:xfrm rot="120000">
                <a:off x="5120830" y="4716799"/>
                <a:ext cx="2191850" cy="1649121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266700" dist="127000" dir="588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18899981" lon="0" rev="120000"/>
                </a:camera>
                <a:lightRig rig="twoPt" dir="t"/>
              </a:scene3d>
              <a:sp3d extrusionH="311150" prstMaterial="plastic">
                <a:bevelT h="0" prst="relaxedInset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  <a:latin typeface="Franklin Gothic Medium" pitchFamily="34" charset="0"/>
                  <a:cs typeface="Arial" pitchFamily="34" charset="0"/>
                </a:endParaRPr>
              </a:p>
            </p:txBody>
          </p:sp>
          <p:sp>
            <p:nvSpPr>
              <p:cNvPr id="43" name="Oval 42"/>
              <p:cNvSpPr/>
              <p:nvPr/>
            </p:nvSpPr>
            <p:spPr>
              <a:xfrm rot="120000">
                <a:off x="2288926" y="4844296"/>
                <a:ext cx="2095873" cy="1649121"/>
              </a:xfrm>
              <a:prstGeom prst="ellipse">
                <a:avLst/>
              </a:prstGeom>
              <a:solidFill>
                <a:srgbClr val="FDDF03"/>
              </a:solidFill>
              <a:ln>
                <a:noFill/>
              </a:ln>
              <a:effectLst>
                <a:outerShdw blurRad="266700" dist="127000" dir="588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18899981" lon="0" rev="120000"/>
                </a:camera>
                <a:lightRig rig="twoPt" dir="t"/>
              </a:scene3d>
              <a:sp3d extrusionH="311150" prstMaterial="plastic">
                <a:bevelT h="0" prst="relaxedInset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  <a:latin typeface="Franklin Gothic Medium" pitchFamily="34" charset="0"/>
                  <a:cs typeface="Arial" pitchFamily="34" charset="0"/>
                </a:endParaRPr>
              </a:p>
            </p:txBody>
          </p:sp>
          <p:sp>
            <p:nvSpPr>
              <p:cNvPr id="44" name="Oval 43"/>
              <p:cNvSpPr/>
              <p:nvPr/>
            </p:nvSpPr>
            <p:spPr>
              <a:xfrm rot="120000">
                <a:off x="194833" y="3560020"/>
                <a:ext cx="2095873" cy="1649121"/>
              </a:xfrm>
              <a:prstGeom prst="ellipse">
                <a:avLst/>
              </a:prstGeom>
              <a:gradFill flip="none" rotWithShape="1">
                <a:gsLst>
                  <a:gs pos="0">
                    <a:srgbClr val="92D050">
                      <a:shade val="30000"/>
                      <a:satMod val="115000"/>
                    </a:srgbClr>
                  </a:gs>
                  <a:gs pos="12000">
                    <a:srgbClr val="92D050">
                      <a:shade val="67500"/>
                      <a:satMod val="115000"/>
                    </a:srgbClr>
                  </a:gs>
                  <a:gs pos="100000">
                    <a:srgbClr val="92D050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>
                <a:noFill/>
              </a:ln>
              <a:effectLst>
                <a:outerShdw blurRad="266700" dist="127000" dir="588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18899981" lon="0" rev="120000"/>
                </a:camera>
                <a:lightRig rig="twoPt" dir="t"/>
              </a:scene3d>
              <a:sp3d extrusionH="311150" prstMaterial="plastic">
                <a:bevelT h="0" prst="relaxedInset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  <a:latin typeface="Franklin Gothic Medium" pitchFamily="34" charset="0"/>
                  <a:cs typeface="Arial" pitchFamily="34" charset="0"/>
                </a:endParaRPr>
              </a:p>
            </p:txBody>
          </p:sp>
          <p:sp>
            <p:nvSpPr>
              <p:cNvPr id="45" name="Oval 44"/>
              <p:cNvSpPr/>
              <p:nvPr/>
            </p:nvSpPr>
            <p:spPr>
              <a:xfrm rot="120000">
                <a:off x="6685626" y="2828093"/>
                <a:ext cx="2095873" cy="1649121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66700" dist="127000" dir="588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18899981" lon="0" rev="120000"/>
                </a:camera>
                <a:lightRig rig="twoPt" dir="t"/>
              </a:scene3d>
              <a:sp3d extrusionH="311150" prstMaterial="plastic">
                <a:bevelT h="0" prst="relaxedInset"/>
                <a:bevelB w="0" h="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  <a:latin typeface="Franklin Gothic Medium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46" name="Rectangle 45"/>
            <p:cNvSpPr/>
            <p:nvPr/>
          </p:nvSpPr>
          <p:spPr>
            <a:xfrm>
              <a:off x="4897094" y="4152508"/>
              <a:ext cx="2494306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l-GR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Μετεωρολογικά φαινόμενα</a:t>
              </a:r>
              <a:endParaRPr lang="en-US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7391400" y="4381108"/>
              <a:ext cx="1981200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l-GR" sz="1600" b="1" dirty="0">
                  <a:latin typeface="Times New Roman" pitchFamily="18" charset="0"/>
                  <a:cs typeface="Times New Roman" pitchFamily="18" charset="0"/>
                </a:rPr>
                <a:t>Μεταβολή θερμοκρασίας</a:t>
              </a:r>
              <a:endParaRPr lang="en-US" sz="1600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858000" y="2912710"/>
              <a:ext cx="1882660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l-GR" sz="1600" b="1" dirty="0">
                  <a:latin typeface="Times New Roman" pitchFamily="18" charset="0"/>
                  <a:cs typeface="Times New Roman" pitchFamily="18" charset="0"/>
                </a:rPr>
                <a:t>Ατμοσφαιρική πίεση</a:t>
              </a:r>
              <a:endParaRPr lang="en-US" sz="1600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477000" y="5752708"/>
              <a:ext cx="1800626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l-GR" sz="1600" b="1" dirty="0">
                  <a:latin typeface="Times New Roman" pitchFamily="18" charset="0"/>
                  <a:cs typeface="Times New Roman" pitchFamily="18" charset="0"/>
                </a:rPr>
                <a:t>Μετακινήσεις αέριων μαζών</a:t>
              </a:r>
              <a:endParaRPr lang="en-US" sz="1600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4648200" y="5981308"/>
              <a:ext cx="16002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1600" b="1" dirty="0">
                  <a:latin typeface="Times New Roman" pitchFamily="18" charset="0"/>
                  <a:cs typeface="Times New Roman" pitchFamily="18" charset="0"/>
                </a:rPr>
                <a:t>Εξάτμιση </a:t>
              </a:r>
              <a:endParaRPr lang="en-US" sz="1600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276600" y="5029200"/>
              <a:ext cx="16002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1600" b="1" dirty="0">
                  <a:latin typeface="Times New Roman" pitchFamily="18" charset="0"/>
                  <a:cs typeface="Times New Roman" pitchFamily="18" charset="0"/>
                </a:rPr>
                <a:t>Υγρασία </a:t>
              </a:r>
              <a:endParaRPr lang="en-US" sz="1600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3352800" y="3225225"/>
              <a:ext cx="16002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1600" b="1" dirty="0">
                  <a:latin typeface="Times New Roman" pitchFamily="18" charset="0"/>
                  <a:cs typeface="Times New Roman" pitchFamily="18" charset="0"/>
                </a:rPr>
                <a:t>Σχηματισμός-Εξέλιξη Νεφών </a:t>
              </a:r>
              <a:endParaRPr lang="en-US" sz="1600" b="1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4800600" y="2476108"/>
              <a:ext cx="19812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sz="1600" b="1" dirty="0">
                  <a:latin typeface="Times New Roman" pitchFamily="18" charset="0"/>
                  <a:cs typeface="Times New Roman" pitchFamily="18" charset="0"/>
                </a:rPr>
                <a:t>Ατμοσφαιρικά κατακρημνίσματα </a:t>
              </a:r>
              <a:endParaRPr lang="en-US" sz="1600" dirty="0">
                <a:latin typeface="Times New Roman" pitchFamily="18" charset="0"/>
                <a:cs typeface="Times New Roman" pitchFamily="18" charset="0"/>
              </a:endParaRPr>
            </a:p>
          </p:txBody>
        </p:sp>
      </p:grpSp>
      <p:sp>
        <p:nvSpPr>
          <p:cNvPr id="55" name="Rectangle 54"/>
          <p:cNvSpPr/>
          <p:nvPr/>
        </p:nvSpPr>
        <p:spPr>
          <a:xfrm>
            <a:off x="3505200" y="801003"/>
            <a:ext cx="5486400" cy="144780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40" tIns="91440" rIns="91440" bIns="91440" rtlCol="0" anchor="t"/>
          <a:lstStyle/>
          <a:p>
            <a:pPr>
              <a:defRPr/>
            </a:pPr>
            <a:r>
              <a:rPr lang="el-GR" b="1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Ετοιμολογία: </a:t>
            </a:r>
          </a:p>
          <a:p>
            <a:pPr>
              <a:defRPr/>
            </a:pPr>
            <a:r>
              <a:rPr lang="el-GR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Ο όρος Μετεωρολογία προέρχεται από την αρχαία Ελληνική λέξη </a:t>
            </a:r>
            <a:r>
              <a:rPr lang="el-GR" b="1" kern="0" dirty="0" err="1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μετέωρον</a:t>
            </a:r>
            <a:r>
              <a:rPr lang="el-GR" kern="0" dirty="0">
                <a:solidFill>
                  <a:sysClr val="windowText" lastClr="000000">
                    <a:lumMod val="85000"/>
                    <a:lumOff val="15000"/>
                  </a:sys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με την οποία χαρακτηριζόταν οτιδήποτε αιωρείται, γίνεται ορατό ή λαμβάνει χώρα στην ατμόσφαιρα της γης.</a:t>
            </a:r>
          </a:p>
        </p:txBody>
      </p:sp>
    </p:spTree>
    <p:extLst>
      <p:ext uri="{BB962C8B-B14F-4D97-AF65-F5344CB8AC3E}">
        <p14:creationId xmlns:p14="http://schemas.microsoft.com/office/powerpoint/2010/main" val="2649793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09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itle 1"/>
          <p:cNvSpPr>
            <a:spLocks noGrp="1"/>
          </p:cNvSpPr>
          <p:nvPr>
            <p:ph type="title"/>
          </p:nvPr>
        </p:nvSpPr>
        <p:spPr>
          <a:xfrm>
            <a:off x="278940" y="0"/>
            <a:ext cx="8484059" cy="685800"/>
          </a:xfrm>
        </p:spPr>
        <p:txBody>
          <a:bodyPr>
            <a:normAutofit/>
          </a:bodyPr>
          <a:lstStyle/>
          <a:p>
            <a:pPr fontAlgn="b"/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Εξεταζόμενες μετεωρολογικές μεταβλητές</a:t>
            </a:r>
            <a:endParaRPr lang="en-US" sz="3600" b="1" dirty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1905000" y="2056729"/>
            <a:ext cx="4966176" cy="4572671"/>
            <a:chOff x="1558995" y="1219200"/>
            <a:chExt cx="4966176" cy="4572671"/>
          </a:xfrm>
        </p:grpSpPr>
        <p:grpSp>
          <p:nvGrpSpPr>
            <p:cNvPr id="44" name="Group 16"/>
            <p:cNvGrpSpPr/>
            <p:nvPr/>
          </p:nvGrpSpPr>
          <p:grpSpPr>
            <a:xfrm>
              <a:off x="2045373" y="1219200"/>
              <a:ext cx="4479798" cy="4572671"/>
              <a:chOff x="2530602" y="1912697"/>
              <a:chExt cx="3940752" cy="4022450"/>
            </a:xfrm>
          </p:grpSpPr>
          <p:sp>
            <p:nvSpPr>
              <p:cNvPr id="51" name="Moon 10"/>
              <p:cNvSpPr/>
              <p:nvPr/>
            </p:nvSpPr>
            <p:spPr>
              <a:xfrm rot="2285446">
                <a:off x="3401280" y="1912697"/>
                <a:ext cx="1542958" cy="2211927"/>
              </a:xfrm>
              <a:custGeom>
                <a:avLst/>
                <a:gdLst/>
                <a:ahLst/>
                <a:cxnLst/>
                <a:rect l="l" t="t" r="r" b="b"/>
                <a:pathLst>
                  <a:path w="1584382" h="2271311">
                    <a:moveTo>
                      <a:pt x="301890" y="199165"/>
                    </a:moveTo>
                    <a:cubicBezTo>
                      <a:pt x="426761" y="91057"/>
                      <a:pt x="585073" y="12904"/>
                      <a:pt x="761996" y="1807"/>
                    </a:cubicBezTo>
                    <a:cubicBezTo>
                      <a:pt x="1117745" y="-20506"/>
                      <a:pt x="1446019" y="165404"/>
                      <a:pt x="1584382" y="467547"/>
                    </a:cubicBezTo>
                    <a:cubicBezTo>
                      <a:pt x="1288705" y="514869"/>
                      <a:pt x="1154331" y="575898"/>
                      <a:pt x="996686" y="724489"/>
                    </a:cubicBezTo>
                    <a:cubicBezTo>
                      <a:pt x="864206" y="820113"/>
                      <a:pt x="741993" y="1015947"/>
                      <a:pt x="701440" y="1230615"/>
                    </a:cubicBezTo>
                    <a:cubicBezTo>
                      <a:pt x="705664" y="1657758"/>
                      <a:pt x="896967" y="2051864"/>
                      <a:pt x="1206728" y="2271309"/>
                    </a:cubicBezTo>
                    <a:lnTo>
                      <a:pt x="1206728" y="2271311"/>
                    </a:lnTo>
                    <a:cubicBezTo>
                      <a:pt x="800686" y="2271311"/>
                      <a:pt x="458011" y="1949458"/>
                      <a:pt x="350755" y="1508915"/>
                    </a:cubicBezTo>
                    <a:cubicBezTo>
                      <a:pt x="346912" y="1505297"/>
                      <a:pt x="344243" y="1500876"/>
                      <a:pt x="341708" y="1496337"/>
                    </a:cubicBezTo>
                    <a:cubicBezTo>
                      <a:pt x="-35046" y="1256000"/>
                      <a:pt x="-38722" y="822451"/>
                      <a:pt x="42434" y="576256"/>
                    </a:cubicBezTo>
                    <a:cubicBezTo>
                      <a:pt x="85589" y="445337"/>
                      <a:pt x="177019" y="307273"/>
                      <a:pt x="301890" y="19916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tx2">
                      <a:lumMod val="75000"/>
                      <a:shade val="30000"/>
                      <a:satMod val="115000"/>
                    </a:schemeClr>
                  </a:gs>
                  <a:gs pos="50000">
                    <a:schemeClr val="tx2">
                      <a:lumMod val="75000"/>
                      <a:shade val="67500"/>
                      <a:satMod val="115000"/>
                    </a:schemeClr>
                  </a:gs>
                  <a:gs pos="100000">
                    <a:schemeClr val="tx2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Moon 10"/>
              <p:cNvSpPr/>
              <p:nvPr/>
            </p:nvSpPr>
            <p:spPr>
              <a:xfrm rot="6723085">
                <a:off x="4593912" y="2422391"/>
                <a:ext cx="1542958" cy="2211927"/>
              </a:xfrm>
              <a:custGeom>
                <a:avLst/>
                <a:gdLst/>
                <a:ahLst/>
                <a:cxnLst/>
                <a:rect l="l" t="t" r="r" b="b"/>
                <a:pathLst>
                  <a:path w="1584382" h="2271311">
                    <a:moveTo>
                      <a:pt x="301890" y="199165"/>
                    </a:moveTo>
                    <a:cubicBezTo>
                      <a:pt x="426761" y="91057"/>
                      <a:pt x="585073" y="12904"/>
                      <a:pt x="761996" y="1807"/>
                    </a:cubicBezTo>
                    <a:cubicBezTo>
                      <a:pt x="1117745" y="-20506"/>
                      <a:pt x="1446019" y="165404"/>
                      <a:pt x="1584382" y="467547"/>
                    </a:cubicBezTo>
                    <a:cubicBezTo>
                      <a:pt x="1288705" y="514869"/>
                      <a:pt x="1154331" y="575898"/>
                      <a:pt x="996686" y="724489"/>
                    </a:cubicBezTo>
                    <a:cubicBezTo>
                      <a:pt x="864206" y="820113"/>
                      <a:pt x="741993" y="1015947"/>
                      <a:pt x="701440" y="1230615"/>
                    </a:cubicBezTo>
                    <a:cubicBezTo>
                      <a:pt x="705664" y="1657758"/>
                      <a:pt x="896967" y="2051864"/>
                      <a:pt x="1206728" y="2271309"/>
                    </a:cubicBezTo>
                    <a:lnTo>
                      <a:pt x="1206728" y="2271311"/>
                    </a:lnTo>
                    <a:cubicBezTo>
                      <a:pt x="800686" y="2271311"/>
                      <a:pt x="458011" y="1949458"/>
                      <a:pt x="350755" y="1508915"/>
                    </a:cubicBezTo>
                    <a:cubicBezTo>
                      <a:pt x="346912" y="1505297"/>
                      <a:pt x="344243" y="1500876"/>
                      <a:pt x="341708" y="1496337"/>
                    </a:cubicBezTo>
                    <a:cubicBezTo>
                      <a:pt x="-35046" y="1256000"/>
                      <a:pt x="-38722" y="822451"/>
                      <a:pt x="42434" y="576256"/>
                    </a:cubicBezTo>
                    <a:cubicBezTo>
                      <a:pt x="85589" y="445337"/>
                      <a:pt x="177019" y="307273"/>
                      <a:pt x="301890" y="19916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5392">
                      <a:shade val="30000"/>
                      <a:satMod val="115000"/>
                    </a:srgbClr>
                  </a:gs>
                  <a:gs pos="50000">
                    <a:srgbClr val="005392">
                      <a:shade val="67500"/>
                      <a:satMod val="115000"/>
                    </a:srgbClr>
                  </a:gs>
                  <a:gs pos="100000">
                    <a:srgbClr val="005392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Moon 10"/>
              <p:cNvSpPr/>
              <p:nvPr/>
            </p:nvSpPr>
            <p:spPr>
              <a:xfrm rot="15300000">
                <a:off x="3170253" y="3966117"/>
                <a:ext cx="1542958" cy="2211927"/>
              </a:xfrm>
              <a:custGeom>
                <a:avLst/>
                <a:gdLst/>
                <a:ahLst/>
                <a:cxnLst/>
                <a:rect l="l" t="t" r="r" b="b"/>
                <a:pathLst>
                  <a:path w="1584382" h="2271311">
                    <a:moveTo>
                      <a:pt x="301890" y="199165"/>
                    </a:moveTo>
                    <a:cubicBezTo>
                      <a:pt x="426761" y="91057"/>
                      <a:pt x="585073" y="12904"/>
                      <a:pt x="761996" y="1807"/>
                    </a:cubicBezTo>
                    <a:cubicBezTo>
                      <a:pt x="1117745" y="-20506"/>
                      <a:pt x="1446019" y="165404"/>
                      <a:pt x="1584382" y="467547"/>
                    </a:cubicBezTo>
                    <a:cubicBezTo>
                      <a:pt x="1288705" y="514869"/>
                      <a:pt x="1154331" y="575898"/>
                      <a:pt x="996686" y="724489"/>
                    </a:cubicBezTo>
                    <a:cubicBezTo>
                      <a:pt x="864206" y="820113"/>
                      <a:pt x="741993" y="1015947"/>
                      <a:pt x="701440" y="1230615"/>
                    </a:cubicBezTo>
                    <a:cubicBezTo>
                      <a:pt x="705664" y="1657758"/>
                      <a:pt x="896967" y="2051864"/>
                      <a:pt x="1206728" y="2271309"/>
                    </a:cubicBezTo>
                    <a:lnTo>
                      <a:pt x="1206728" y="2271311"/>
                    </a:lnTo>
                    <a:cubicBezTo>
                      <a:pt x="800686" y="2271311"/>
                      <a:pt x="458011" y="1949458"/>
                      <a:pt x="350755" y="1508915"/>
                    </a:cubicBezTo>
                    <a:cubicBezTo>
                      <a:pt x="346912" y="1505297"/>
                      <a:pt x="344243" y="1500876"/>
                      <a:pt x="341708" y="1496337"/>
                    </a:cubicBezTo>
                    <a:cubicBezTo>
                      <a:pt x="-35046" y="1256000"/>
                      <a:pt x="-38722" y="822451"/>
                      <a:pt x="42434" y="576256"/>
                    </a:cubicBezTo>
                    <a:cubicBezTo>
                      <a:pt x="85589" y="445337"/>
                      <a:pt x="177019" y="307273"/>
                      <a:pt x="301890" y="19916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269FF2">
                      <a:shade val="30000"/>
                      <a:satMod val="115000"/>
                    </a:srgbClr>
                  </a:gs>
                  <a:gs pos="50000">
                    <a:srgbClr val="269FF2">
                      <a:shade val="67500"/>
                      <a:satMod val="115000"/>
                    </a:srgbClr>
                  </a:gs>
                  <a:gs pos="100000">
                    <a:srgbClr val="269FF2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Moon 10"/>
              <p:cNvSpPr/>
              <p:nvPr/>
            </p:nvSpPr>
            <p:spPr>
              <a:xfrm rot="11227793">
                <a:off x="4442389" y="3723220"/>
                <a:ext cx="1542958" cy="2211927"/>
              </a:xfrm>
              <a:custGeom>
                <a:avLst/>
                <a:gdLst/>
                <a:ahLst/>
                <a:cxnLst/>
                <a:rect l="l" t="t" r="r" b="b"/>
                <a:pathLst>
                  <a:path w="1584382" h="2271311">
                    <a:moveTo>
                      <a:pt x="301890" y="199165"/>
                    </a:moveTo>
                    <a:cubicBezTo>
                      <a:pt x="426761" y="91057"/>
                      <a:pt x="585073" y="12904"/>
                      <a:pt x="761996" y="1807"/>
                    </a:cubicBezTo>
                    <a:cubicBezTo>
                      <a:pt x="1117745" y="-20506"/>
                      <a:pt x="1446019" y="165404"/>
                      <a:pt x="1584382" y="467547"/>
                    </a:cubicBezTo>
                    <a:cubicBezTo>
                      <a:pt x="1288705" y="514869"/>
                      <a:pt x="1154331" y="575898"/>
                      <a:pt x="996686" y="724489"/>
                    </a:cubicBezTo>
                    <a:cubicBezTo>
                      <a:pt x="864206" y="820113"/>
                      <a:pt x="741993" y="1015947"/>
                      <a:pt x="701440" y="1230615"/>
                    </a:cubicBezTo>
                    <a:cubicBezTo>
                      <a:pt x="705664" y="1657758"/>
                      <a:pt x="896967" y="2051864"/>
                      <a:pt x="1206728" y="2271309"/>
                    </a:cubicBezTo>
                    <a:lnTo>
                      <a:pt x="1206728" y="2271311"/>
                    </a:lnTo>
                    <a:cubicBezTo>
                      <a:pt x="800686" y="2271311"/>
                      <a:pt x="458011" y="1949458"/>
                      <a:pt x="350755" y="1508915"/>
                    </a:cubicBezTo>
                    <a:cubicBezTo>
                      <a:pt x="346912" y="1505297"/>
                      <a:pt x="344243" y="1500876"/>
                      <a:pt x="341708" y="1496337"/>
                    </a:cubicBezTo>
                    <a:cubicBezTo>
                      <a:pt x="-35046" y="1256000"/>
                      <a:pt x="-38722" y="822451"/>
                      <a:pt x="42434" y="576256"/>
                    </a:cubicBezTo>
                    <a:cubicBezTo>
                      <a:pt x="85589" y="445337"/>
                      <a:pt x="177019" y="307273"/>
                      <a:pt x="301890" y="19916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2579C5">
                      <a:shade val="30000"/>
                      <a:satMod val="115000"/>
                    </a:srgbClr>
                  </a:gs>
                  <a:gs pos="50000">
                    <a:srgbClr val="2579C5">
                      <a:shade val="67500"/>
                      <a:satMod val="115000"/>
                    </a:srgbClr>
                  </a:gs>
                  <a:gs pos="100000">
                    <a:srgbClr val="2579C5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Moon 10"/>
              <p:cNvSpPr/>
              <p:nvPr/>
            </p:nvSpPr>
            <p:spPr>
              <a:xfrm rot="19578879">
                <a:off x="2530602" y="2858298"/>
                <a:ext cx="1542958" cy="2211927"/>
              </a:xfrm>
              <a:custGeom>
                <a:avLst/>
                <a:gdLst/>
                <a:ahLst/>
                <a:cxnLst/>
                <a:rect l="l" t="t" r="r" b="b"/>
                <a:pathLst>
                  <a:path w="1584382" h="2271311">
                    <a:moveTo>
                      <a:pt x="301890" y="199165"/>
                    </a:moveTo>
                    <a:cubicBezTo>
                      <a:pt x="426761" y="91057"/>
                      <a:pt x="585073" y="12904"/>
                      <a:pt x="761996" y="1807"/>
                    </a:cubicBezTo>
                    <a:cubicBezTo>
                      <a:pt x="1117745" y="-20506"/>
                      <a:pt x="1446019" y="165404"/>
                      <a:pt x="1584382" y="467547"/>
                    </a:cubicBezTo>
                    <a:cubicBezTo>
                      <a:pt x="1288705" y="514869"/>
                      <a:pt x="1154331" y="575898"/>
                      <a:pt x="996686" y="724489"/>
                    </a:cubicBezTo>
                    <a:cubicBezTo>
                      <a:pt x="864206" y="820113"/>
                      <a:pt x="741993" y="1015947"/>
                      <a:pt x="701440" y="1230615"/>
                    </a:cubicBezTo>
                    <a:cubicBezTo>
                      <a:pt x="705664" y="1657758"/>
                      <a:pt x="896967" y="2051864"/>
                      <a:pt x="1206728" y="2271309"/>
                    </a:cubicBezTo>
                    <a:lnTo>
                      <a:pt x="1206728" y="2271311"/>
                    </a:lnTo>
                    <a:cubicBezTo>
                      <a:pt x="800686" y="2271311"/>
                      <a:pt x="458011" y="1949458"/>
                      <a:pt x="350755" y="1508915"/>
                    </a:cubicBezTo>
                    <a:cubicBezTo>
                      <a:pt x="346912" y="1505297"/>
                      <a:pt x="344243" y="1500876"/>
                      <a:pt x="341708" y="1496337"/>
                    </a:cubicBezTo>
                    <a:cubicBezTo>
                      <a:pt x="-35046" y="1256000"/>
                      <a:pt x="-38722" y="822451"/>
                      <a:pt x="42434" y="576256"/>
                    </a:cubicBezTo>
                    <a:cubicBezTo>
                      <a:pt x="85589" y="445337"/>
                      <a:pt x="177019" y="307273"/>
                      <a:pt x="301890" y="19916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DC0FF">
                      <a:shade val="30000"/>
                      <a:satMod val="115000"/>
                    </a:srgbClr>
                  </a:gs>
                  <a:gs pos="50000">
                    <a:srgbClr val="0DC0FF">
                      <a:shade val="67500"/>
                      <a:satMod val="115000"/>
                    </a:srgbClr>
                  </a:gs>
                  <a:gs pos="100000">
                    <a:srgbClr val="0DC0FF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5" name="TextBox 44"/>
            <p:cNvSpPr txBox="1"/>
            <p:nvPr/>
          </p:nvSpPr>
          <p:spPr>
            <a:xfrm>
              <a:off x="4652368" y="2501099"/>
              <a:ext cx="163996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l-GR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Ατμοσφαιρική Πίεση</a:t>
              </a:r>
              <a:endParaRPr lang="en-US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3397088" y="1709602"/>
              <a:ext cx="15675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Θερμοκρασία</a:t>
              </a:r>
              <a:endParaRPr lang="en-US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558995" y="3114280"/>
              <a:ext cx="1524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Υγρασία</a:t>
              </a:r>
              <a:endParaRPr lang="en-US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4569152" y="4873433"/>
              <a:ext cx="15240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Ταχύτητα ανέμου</a:t>
              </a:r>
              <a:endParaRPr lang="en-US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2427842" y="4948391"/>
              <a:ext cx="175024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Κατακρήμνιση</a:t>
              </a:r>
              <a:endParaRPr lang="en-US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56" name="TextBox 55"/>
          <p:cNvSpPr txBox="1"/>
          <p:nvPr/>
        </p:nvSpPr>
        <p:spPr>
          <a:xfrm>
            <a:off x="3657600" y="3953470"/>
            <a:ext cx="1729913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l-GR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Εξεταζόμενες Μεταβλητές Κλίματος</a:t>
            </a:r>
            <a:endParaRPr lang="en-US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D5E5086-102A-4563-A0A2-EC1257F23783}"/>
              </a:ext>
            </a:extLst>
          </p:cNvPr>
          <p:cNvSpPr txBox="1"/>
          <p:nvPr/>
        </p:nvSpPr>
        <p:spPr>
          <a:xfrm>
            <a:off x="3133810" y="762801"/>
            <a:ext cx="2846480" cy="1323439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Η θερμοκρασία του ατμοσφαιρικού αέρα πάνω από μια περιοχή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Μονάδες μέτρησης: βαθμοί Κελσίου (°C) ή </a:t>
            </a:r>
            <a:r>
              <a:rPr lang="el-GR" sz="1600" dirty="0" err="1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Κέλβιν</a:t>
            </a: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Κ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AFAF32-4D02-445A-8276-77261EB81D3B}"/>
              </a:ext>
            </a:extLst>
          </p:cNvPr>
          <p:cNvSpPr txBox="1"/>
          <p:nvPr/>
        </p:nvSpPr>
        <p:spPr>
          <a:xfrm>
            <a:off x="6858000" y="1882676"/>
            <a:ext cx="2276320" cy="2554545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Η πίεση από το βάρος της ατμόσφαιρας στην επιφάνεια της γη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Εξαρτάται από το υψόμετρο, τη θερμοκρασία και την κίνηση του αέρα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Μονάδες μέτρησης: 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schal (Pa)</a:t>
            </a:r>
            <a:endParaRPr lang="el-GR" sz="16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045412-480D-43F3-B797-6F7B159CD935}"/>
              </a:ext>
            </a:extLst>
          </p:cNvPr>
          <p:cNvSpPr txBox="1"/>
          <p:nvPr/>
        </p:nvSpPr>
        <p:spPr>
          <a:xfrm>
            <a:off x="6385355" y="5212140"/>
            <a:ext cx="2748966" cy="1569660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Οριζόντια μετακίνηση αέριας μάζας λόγω διαφορά της ατμοσφαιρικής πίεση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Διεύθυνση και ένταση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Μονάδες μέτρησης: 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m/h </a:t>
            </a: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ή </a:t>
            </a:r>
            <a:r>
              <a:rPr lang="en-US" sz="1600" dirty="0" err="1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n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κόμβοι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4A0D4D2-E5EE-4AD3-B02D-63C561DD5E49}"/>
              </a:ext>
            </a:extLst>
          </p:cNvPr>
          <p:cNvSpPr txBox="1"/>
          <p:nvPr/>
        </p:nvSpPr>
        <p:spPr>
          <a:xfrm>
            <a:off x="1" y="4800600"/>
            <a:ext cx="2470923" cy="2062103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Πτώση των βαριών σταγόνων με ταχύτητα πτώσης μεγαλύτερη από την ανοδική ταχύτητα του ρεύματος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Θερμοκρασία → μορφή σταγόνων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Μονάδες μέτρησης: 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m</a:t>
            </a:r>
            <a:endParaRPr lang="el-GR" sz="16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7B40D11-0A58-4A07-9668-E01C38165181}"/>
              </a:ext>
            </a:extLst>
          </p:cNvPr>
          <p:cNvSpPr txBox="1"/>
          <p:nvPr/>
        </p:nvSpPr>
        <p:spPr>
          <a:xfrm>
            <a:off x="0" y="1894260"/>
            <a:ext cx="2182812" cy="2308324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Εκφράζει την ποσότητα υδρατμών στην ατμόσφαιρα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Κορεσμός: Μέγιστη ποσότητα υδρατμών στον αέρα → θερμοκρασία αέρα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l-GR" sz="16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Μονάδες μέτρησης: %</a:t>
            </a:r>
          </a:p>
        </p:txBody>
      </p:sp>
    </p:spTree>
    <p:extLst>
      <p:ext uri="{BB962C8B-B14F-4D97-AF65-F5344CB8AC3E}">
        <p14:creationId xmlns:p14="http://schemas.microsoft.com/office/powerpoint/2010/main" val="1221793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876300" y="0"/>
            <a:ext cx="7315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Διάρθρωση μελέτης</a:t>
            </a:r>
            <a:endParaRPr lang="en-US" sz="36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" name="Πίνακας 1">
            <a:extLst>
              <a:ext uri="{FF2B5EF4-FFF2-40B4-BE49-F238E27FC236}">
                <a16:creationId xmlns:a16="http://schemas.microsoft.com/office/drawing/2014/main" id="{34C6C5EF-1F26-48C7-9BA7-CD364EB25B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6658115"/>
              </p:ext>
            </p:extLst>
          </p:nvPr>
        </p:nvGraphicFramePr>
        <p:xfrm>
          <a:off x="0" y="3581400"/>
          <a:ext cx="9143999" cy="3215640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1229445">
                  <a:extLst>
                    <a:ext uri="{9D8B030D-6E8A-4147-A177-3AD203B41FA5}">
                      <a16:colId xmlns:a16="http://schemas.microsoft.com/office/drawing/2014/main" val="3809905216"/>
                    </a:ext>
                  </a:extLst>
                </a:gridCol>
                <a:gridCol w="1152605">
                  <a:extLst>
                    <a:ext uri="{9D8B030D-6E8A-4147-A177-3AD203B41FA5}">
                      <a16:colId xmlns:a16="http://schemas.microsoft.com/office/drawing/2014/main" val="673473581"/>
                    </a:ext>
                  </a:extLst>
                </a:gridCol>
                <a:gridCol w="1459966">
                  <a:extLst>
                    <a:ext uri="{9D8B030D-6E8A-4147-A177-3AD203B41FA5}">
                      <a16:colId xmlns:a16="http://schemas.microsoft.com/office/drawing/2014/main" val="1394321400"/>
                    </a:ext>
                  </a:extLst>
                </a:gridCol>
                <a:gridCol w="1383126">
                  <a:extLst>
                    <a:ext uri="{9D8B030D-6E8A-4147-A177-3AD203B41FA5}">
                      <a16:colId xmlns:a16="http://schemas.microsoft.com/office/drawing/2014/main" val="2884980609"/>
                    </a:ext>
                  </a:extLst>
                </a:gridCol>
                <a:gridCol w="3918857">
                  <a:extLst>
                    <a:ext uri="{9D8B030D-6E8A-4147-A177-3AD203B41FA5}">
                      <a16:colId xmlns:a16="http://schemas.microsoft.com/office/drawing/2014/main" val="15888420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Περιοχή</a:t>
                      </a: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Κλιματική κατάταξη </a:t>
                      </a:r>
                      <a:r>
                        <a:rPr lang="en-US" sz="1600" dirty="0" err="1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öppen</a:t>
                      </a:r>
                      <a:endParaRPr lang="el-GR" sz="16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6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Μέση ετήσια θερμοκρασία </a:t>
                      </a:r>
                      <a:r>
                        <a:rPr lang="en-US" sz="16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°C)</a:t>
                      </a:r>
                      <a:endParaRPr lang="el-GR" sz="16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Μέση ετήσια βροχόπτωση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mm)</a:t>
                      </a:r>
                      <a:endParaRPr lang="el-GR" sz="16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Περιγραφή κλίματος</a:t>
                      </a: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61174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Αττική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sa</a:t>
                      </a:r>
                      <a:endParaRPr lang="el-GR" sz="1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8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</a:t>
                      </a:r>
                      <a:r>
                        <a:rPr lang="el-GR" sz="18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3</a:t>
                      </a:r>
                      <a:endParaRPr lang="el-GR" sz="18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l-GR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0</a:t>
                      </a:r>
                      <a:endParaRPr lang="el-GR" sz="1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Εύκρατο, μεσογειακό και γενικά ήπιο κλίμα το μεγαλύτερο μέρος του χρόνου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60099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Λονδίνο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fb</a:t>
                      </a:r>
                      <a:endParaRPr lang="el-GR" sz="1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l-GR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,3</a:t>
                      </a:r>
                      <a:endParaRPr lang="el-GR" sz="1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l-GR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4</a:t>
                      </a:r>
                      <a:endParaRPr lang="el-GR" sz="1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Εύκρατο ωκεάνιο κλίμα (δροσερά καλοκαίρια, ψυχροί χειμώνες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22530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Μελβούρνη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fb</a:t>
                      </a:r>
                      <a:endParaRPr lang="el-GR" sz="1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l-GR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el-GR" sz="1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l-GR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0</a:t>
                      </a:r>
                      <a:endParaRPr lang="el-GR" sz="1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Εύκρατο, ωκεάνιο και αρκετά δροσερό κλίμα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10922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l-GR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Νέα Υόρκη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fa</a:t>
                      </a:r>
                      <a:endParaRPr lang="el-GR" sz="18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l-GR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el-GR" sz="1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l-GR" sz="18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0</a:t>
                      </a:r>
                      <a:endParaRPr lang="el-GR" sz="18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Εύκρατο κλίμα και επηρεάζεται κυρίως από τις ηπειρωτικές αέριες μάζες δυτικά της περιοχή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6235480"/>
                  </a:ext>
                </a:extLst>
              </a:tr>
            </a:tbl>
          </a:graphicData>
        </a:graphic>
      </p:graphicFrame>
      <p:sp>
        <p:nvSpPr>
          <p:cNvPr id="3" name="Διπλός κυματισμός 2">
            <a:extLst>
              <a:ext uri="{FF2B5EF4-FFF2-40B4-BE49-F238E27FC236}">
                <a16:creationId xmlns:a16="http://schemas.microsoft.com/office/drawing/2014/main" id="{FA16B1EB-FEDD-46A5-888F-4F7C276EE341}"/>
              </a:ext>
            </a:extLst>
          </p:cNvPr>
          <p:cNvSpPr/>
          <p:nvPr/>
        </p:nvSpPr>
        <p:spPr>
          <a:xfrm>
            <a:off x="3581400" y="1337002"/>
            <a:ext cx="1638300" cy="1066800"/>
          </a:xfrm>
          <a:prstGeom prst="doubleWav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l-GR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 μέρη </a:t>
            </a:r>
          </a:p>
        </p:txBody>
      </p:sp>
      <p:cxnSp>
        <p:nvCxnSpPr>
          <p:cNvPr id="5" name="Ευθύγραμμο βέλος σύνδεσης 4">
            <a:extLst>
              <a:ext uri="{FF2B5EF4-FFF2-40B4-BE49-F238E27FC236}">
                <a16:creationId xmlns:a16="http://schemas.microsoft.com/office/drawing/2014/main" id="{3E926323-7216-47C4-8D80-E9CB8D34FC64}"/>
              </a:ext>
            </a:extLst>
          </p:cNvPr>
          <p:cNvCxnSpPr>
            <a:cxnSpLocks/>
          </p:cNvCxnSpPr>
          <p:nvPr/>
        </p:nvCxnSpPr>
        <p:spPr>
          <a:xfrm flipH="1">
            <a:off x="2895600" y="1870402"/>
            <a:ext cx="685800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Ευθύγραμμο βέλος σύνδεσης 27">
            <a:extLst>
              <a:ext uri="{FF2B5EF4-FFF2-40B4-BE49-F238E27FC236}">
                <a16:creationId xmlns:a16="http://schemas.microsoft.com/office/drawing/2014/main" id="{5F190929-D645-4DDD-92A0-FDB9FDD64129}"/>
              </a:ext>
            </a:extLst>
          </p:cNvPr>
          <p:cNvCxnSpPr>
            <a:cxnSpLocks/>
          </p:cNvCxnSpPr>
          <p:nvPr/>
        </p:nvCxnSpPr>
        <p:spPr>
          <a:xfrm>
            <a:off x="5219700" y="1870402"/>
            <a:ext cx="876300" cy="0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Ευθύγραμμο βέλος σύνδεσης 33">
            <a:extLst>
              <a:ext uri="{FF2B5EF4-FFF2-40B4-BE49-F238E27FC236}">
                <a16:creationId xmlns:a16="http://schemas.microsoft.com/office/drawing/2014/main" id="{5F27ACDF-6617-42CC-9342-A5945995E01B}"/>
              </a:ext>
            </a:extLst>
          </p:cNvPr>
          <p:cNvCxnSpPr>
            <a:cxnSpLocks/>
            <a:stCxn id="32" idx="2"/>
          </p:cNvCxnSpPr>
          <p:nvPr/>
        </p:nvCxnSpPr>
        <p:spPr>
          <a:xfrm flipH="1">
            <a:off x="6858000" y="2744926"/>
            <a:ext cx="685800" cy="836474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9C00C76C-A39C-4993-9399-89F4AC30CDF1}"/>
              </a:ext>
            </a:extLst>
          </p:cNvPr>
          <p:cNvSpPr txBox="1"/>
          <p:nvPr/>
        </p:nvSpPr>
        <p:spPr>
          <a:xfrm>
            <a:off x="114298" y="990600"/>
            <a:ext cx="2781301" cy="175432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  Ανάλυση και εφαρμογή μεθόδων πρόβλεψης για τις 5 μεταβλητές σε ένα σταθμό στην Αττική (σταθμός της ΕΜΥ στο Ελληνικό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38E710C-260A-4869-B01B-201C0A16B12E}"/>
              </a:ext>
            </a:extLst>
          </p:cNvPr>
          <p:cNvSpPr txBox="1"/>
          <p:nvPr/>
        </p:nvSpPr>
        <p:spPr>
          <a:xfrm>
            <a:off x="6096000" y="990600"/>
            <a:ext cx="2895599" cy="175432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 Διερεύνηση αποτελεσμάτων των μεθόδων πρόγνωσης σε περιοχές διαφορετικών ή παρόμοιων κλιματικών χαρακτηριστικών</a:t>
            </a:r>
          </a:p>
        </p:txBody>
      </p:sp>
    </p:spTree>
    <p:extLst>
      <p:ext uri="{BB962C8B-B14F-4D97-AF65-F5344CB8AC3E}">
        <p14:creationId xmlns:p14="http://schemas.microsoft.com/office/powerpoint/2010/main" val="1021781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3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3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itle 1"/>
          <p:cNvSpPr txBox="1">
            <a:spLocks/>
          </p:cNvSpPr>
          <p:nvPr/>
        </p:nvSpPr>
        <p:spPr>
          <a:xfrm>
            <a:off x="3095037" y="-38765"/>
            <a:ext cx="2819400" cy="11817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"/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Παροχή Δεδομένων</a:t>
            </a:r>
            <a:endParaRPr lang="en-US" sz="400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 rot="21265318">
            <a:off x="4535266" y="2573612"/>
            <a:ext cx="4594088" cy="4233925"/>
            <a:chOff x="3117034" y="2682657"/>
            <a:chExt cx="3058068" cy="2867358"/>
          </a:xfrm>
        </p:grpSpPr>
        <p:sp>
          <p:nvSpPr>
            <p:cNvPr id="43" name="Oval 42"/>
            <p:cNvSpPr/>
            <p:nvPr/>
          </p:nvSpPr>
          <p:spPr>
            <a:xfrm rot="302816">
              <a:off x="3117034" y="2682657"/>
              <a:ext cx="2978184" cy="2867358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>
              <a:innerShdw blurRad="1270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Rectangle 43"/>
            <p:cNvSpPr/>
            <p:nvPr/>
          </p:nvSpPr>
          <p:spPr>
            <a:xfrm rot="334682">
              <a:off x="3662215" y="2724598"/>
              <a:ext cx="2133599" cy="369413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EMY &amp; NOAA</a:t>
              </a:r>
            </a:p>
          </p:txBody>
        </p:sp>
        <p:sp>
          <p:nvSpPr>
            <p:cNvPr id="45" name="Oval 44"/>
            <p:cNvSpPr/>
            <p:nvPr/>
          </p:nvSpPr>
          <p:spPr>
            <a:xfrm rot="334682">
              <a:off x="3228562" y="3061545"/>
              <a:ext cx="2946540" cy="2319202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defRPr/>
              </a:pPr>
              <a:r>
                <a:rPr lang="el-GR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ΕΜΥ: σταθμούς στην Ελλάδα</a:t>
              </a:r>
            </a:p>
            <a:p>
              <a:pPr>
                <a:defRPr/>
              </a:pPr>
              <a:r>
                <a:rPr lang="el-GR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ΝΟΑΑ: βάση δεδομένων (</a:t>
              </a:r>
              <a:r>
                <a:rPr lang="en-US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ISD)</a:t>
              </a:r>
              <a:r>
                <a:rPr lang="el-GR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σταθμών μέτρησης ανά τον κόσμο</a:t>
              </a:r>
            </a:p>
            <a:p>
              <a:pPr>
                <a:defRPr/>
              </a:pPr>
              <a:endParaRPr lang="el-GR" sz="1900" kern="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>
                <a:defRPr/>
              </a:pPr>
              <a:r>
                <a:rPr lang="el-GR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Όργανα μέτρησης των μεταβλητών:</a:t>
              </a:r>
            </a:p>
            <a:p>
              <a:pPr>
                <a:buFont typeface="Wingdings" pitchFamily="2" charset="2"/>
                <a:buChar char="ü"/>
                <a:defRPr/>
              </a:pPr>
              <a:r>
                <a:rPr lang="el-GR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Θερμοκρασία:</a:t>
              </a:r>
              <a:r>
                <a:rPr lang="en-US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l-GR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θερμόμετρο (εντός κλωβού)</a:t>
              </a:r>
            </a:p>
            <a:p>
              <a:pPr>
                <a:buFont typeface="Wingdings" pitchFamily="2" charset="2"/>
                <a:buChar char="ü"/>
                <a:defRPr/>
              </a:pPr>
              <a:r>
                <a:rPr lang="el-GR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Ατμοσφαιρική πίεση: βαρόμετρο</a:t>
              </a:r>
            </a:p>
            <a:p>
              <a:pPr>
                <a:buFont typeface="Wingdings" pitchFamily="2" charset="2"/>
                <a:buChar char="ü"/>
                <a:defRPr/>
              </a:pPr>
              <a:r>
                <a:rPr lang="el-GR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Ταχύτητα ανέμου: ανεμόμετρο</a:t>
              </a:r>
            </a:p>
            <a:p>
              <a:pPr>
                <a:buFont typeface="Wingdings" pitchFamily="2" charset="2"/>
                <a:buChar char="ü"/>
                <a:defRPr/>
              </a:pPr>
              <a:r>
                <a:rPr lang="el-GR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Κατακρήμνιση: βροχόμετρο</a:t>
              </a:r>
            </a:p>
            <a:p>
              <a:pPr>
                <a:buFont typeface="Wingdings" pitchFamily="2" charset="2"/>
                <a:buChar char="ü"/>
                <a:defRPr/>
              </a:pPr>
              <a:r>
                <a:rPr lang="el-GR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Υγρασία: υδρογράφο</a:t>
              </a:r>
            </a:p>
            <a:p>
              <a:pPr>
                <a:defRPr/>
              </a:pPr>
              <a:endParaRPr lang="en-US" sz="1900" kern="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40" name="Group 6">
            <a:extLst>
              <a:ext uri="{FF2B5EF4-FFF2-40B4-BE49-F238E27FC236}">
                <a16:creationId xmlns:a16="http://schemas.microsoft.com/office/drawing/2014/main" id="{484A90FA-20F3-40DA-808F-F57F8C3C9CD1}"/>
              </a:ext>
            </a:extLst>
          </p:cNvPr>
          <p:cNvGrpSpPr/>
          <p:nvPr/>
        </p:nvGrpSpPr>
        <p:grpSpPr>
          <a:xfrm rot="21296456">
            <a:off x="89762" y="2579088"/>
            <a:ext cx="4535725" cy="4248850"/>
            <a:chOff x="3127055" y="3032828"/>
            <a:chExt cx="2773243" cy="2598073"/>
          </a:xfrm>
        </p:grpSpPr>
        <p:sp>
          <p:nvSpPr>
            <p:cNvPr id="41" name="Oval 42">
              <a:extLst>
                <a:ext uri="{FF2B5EF4-FFF2-40B4-BE49-F238E27FC236}">
                  <a16:creationId xmlns:a16="http://schemas.microsoft.com/office/drawing/2014/main" id="{587A7335-D935-46A8-A192-CC428465E84C}"/>
                </a:ext>
              </a:extLst>
            </p:cNvPr>
            <p:cNvSpPr/>
            <p:nvPr/>
          </p:nvSpPr>
          <p:spPr>
            <a:xfrm rot="302816">
              <a:off x="3127055" y="3032828"/>
              <a:ext cx="2720825" cy="2598073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>
              <a:innerShdw blurRad="1270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2" name="Rectangle 43">
              <a:extLst>
                <a:ext uri="{FF2B5EF4-FFF2-40B4-BE49-F238E27FC236}">
                  <a16:creationId xmlns:a16="http://schemas.microsoft.com/office/drawing/2014/main" id="{A113B03F-2762-4044-870F-D4DE4A9C32F6}"/>
                </a:ext>
              </a:extLst>
            </p:cNvPr>
            <p:cNvSpPr/>
            <p:nvPr/>
          </p:nvSpPr>
          <p:spPr>
            <a:xfrm rot="303544">
              <a:off x="3477594" y="3045586"/>
              <a:ext cx="2133600" cy="369413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ECMWF</a:t>
              </a:r>
            </a:p>
          </p:txBody>
        </p:sp>
        <p:sp>
          <p:nvSpPr>
            <p:cNvPr id="46" name="Oval 44">
              <a:extLst>
                <a:ext uri="{FF2B5EF4-FFF2-40B4-BE49-F238E27FC236}">
                  <a16:creationId xmlns:a16="http://schemas.microsoft.com/office/drawing/2014/main" id="{E856D61B-6D68-40F7-A4FF-AB85F0A54F48}"/>
                </a:ext>
              </a:extLst>
            </p:cNvPr>
            <p:cNvSpPr/>
            <p:nvPr/>
          </p:nvSpPr>
          <p:spPr>
            <a:xfrm rot="303544">
              <a:off x="3180974" y="3375406"/>
              <a:ext cx="2719324" cy="2230278"/>
            </a:xfrm>
            <a:prstGeom prst="roundRect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buFont typeface="Wingdings" pitchFamily="2" charset="2"/>
                <a:buChar char="ü"/>
                <a:defRPr/>
              </a:pPr>
              <a:r>
                <a:rPr lang="en-US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l-GR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Τελευταία παγκόσμια ατμοσφαιρική ανάλυση</a:t>
              </a:r>
              <a:r>
                <a:rPr lang="en-US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</a:t>
              </a:r>
              <a:r>
                <a:rPr lang="el-GR" sz="1900" b="1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μοντέλο </a:t>
              </a:r>
              <a:r>
                <a:rPr lang="en-US" sz="1900" b="1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ERA-Interim</a:t>
              </a:r>
            </a:p>
            <a:p>
              <a:pPr>
                <a:buFont typeface="Wingdings" pitchFamily="2" charset="2"/>
                <a:buChar char="ü"/>
                <a:defRPr/>
              </a:pPr>
              <a:r>
                <a:rPr lang="el-GR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Ανάλυση 4 διαστάσεων </a:t>
              </a:r>
            </a:p>
            <a:p>
              <a:pPr>
                <a:buFont typeface="Wingdings" pitchFamily="2" charset="2"/>
                <a:buChar char="ü"/>
                <a:defRPr/>
              </a:pPr>
              <a:r>
                <a:rPr lang="el-GR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Προβλέψεις τις ώρες «0:00» και «12:00» κάθε ημέρα </a:t>
              </a:r>
            </a:p>
            <a:p>
              <a:pPr>
                <a:buFont typeface="Wingdings" pitchFamily="2" charset="2"/>
                <a:buChar char="ü"/>
                <a:defRPr/>
              </a:pPr>
              <a:r>
                <a:rPr lang="el-GR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Παράθυρο πρόβλεψης 12 ωρών ανά 3 ώρες</a:t>
              </a:r>
            </a:p>
            <a:p>
              <a:pPr>
                <a:buFont typeface="Wingdings" pitchFamily="2" charset="2"/>
                <a:buChar char="ü"/>
                <a:defRPr/>
              </a:pPr>
              <a:r>
                <a:rPr lang="el-GR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Χωρική ανάλυση: έως 0,125</a:t>
              </a:r>
              <a:r>
                <a:rPr lang="en-US" sz="1900" kern="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deg</a:t>
              </a:r>
              <a:r>
                <a:rPr lang="el-GR" sz="19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endParaRPr lang="en-US" sz="1900" kern="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47" name="Teardrop 46"/>
          <p:cNvSpPr/>
          <p:nvPr/>
        </p:nvSpPr>
        <p:spPr>
          <a:xfrm rot="7955400">
            <a:off x="5849446" y="340373"/>
            <a:ext cx="1838465" cy="1891059"/>
          </a:xfrm>
          <a:prstGeom prst="teardrop">
            <a:avLst/>
          </a:prstGeom>
          <a:gradFill flip="none" rotWithShape="1">
            <a:gsLst>
              <a:gs pos="81000">
                <a:srgbClr val="0E618F"/>
              </a:gs>
              <a:gs pos="0">
                <a:srgbClr val="00B0F0"/>
              </a:gs>
              <a:gs pos="100000">
                <a:srgbClr val="182848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 rot="156792">
            <a:off x="1329185" y="389710"/>
            <a:ext cx="1857533" cy="1813383"/>
            <a:chOff x="829019" y="1124085"/>
            <a:chExt cx="1291877" cy="1292922"/>
          </a:xfrm>
        </p:grpSpPr>
        <p:sp>
          <p:nvSpPr>
            <p:cNvPr id="34" name="Teardrop 33"/>
            <p:cNvSpPr/>
            <p:nvPr/>
          </p:nvSpPr>
          <p:spPr>
            <a:xfrm rot="7955400">
              <a:off x="829019" y="1125129"/>
              <a:ext cx="1291878" cy="1291877"/>
            </a:xfrm>
            <a:prstGeom prst="teardrop">
              <a:avLst/>
            </a:prstGeom>
            <a:gradFill flip="none" rotWithShape="1">
              <a:gsLst>
                <a:gs pos="83000">
                  <a:srgbClr val="5A930E"/>
                </a:gs>
                <a:gs pos="0">
                  <a:srgbClr val="9BED17"/>
                </a:gs>
                <a:gs pos="100000">
                  <a:srgbClr val="305808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3" name="Oval 32"/>
            <p:cNvSpPr/>
            <p:nvPr/>
          </p:nvSpPr>
          <p:spPr>
            <a:xfrm rot="668725">
              <a:off x="830421" y="1124085"/>
              <a:ext cx="1278435" cy="1278434"/>
            </a:xfrm>
            <a:prstGeom prst="ellipse">
              <a:avLst/>
            </a:prstGeom>
            <a:gradFill flip="none" rotWithShape="1">
              <a:gsLst>
                <a:gs pos="38000">
                  <a:srgbClr val="E2E9F5">
                    <a:lumMod val="0"/>
                    <a:alpha val="0"/>
                  </a:srgbClr>
                </a:gs>
                <a:gs pos="100000">
                  <a:srgbClr val="72AF2F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49" name="Oval 47">
            <a:extLst>
              <a:ext uri="{FF2B5EF4-FFF2-40B4-BE49-F238E27FC236}">
                <a16:creationId xmlns:a16="http://schemas.microsoft.com/office/drawing/2014/main" id="{B984E05F-C40D-4BAD-8577-1504C77294A7}"/>
              </a:ext>
            </a:extLst>
          </p:cNvPr>
          <p:cNvSpPr/>
          <p:nvPr/>
        </p:nvSpPr>
        <p:spPr>
          <a:xfrm>
            <a:off x="873675" y="512250"/>
            <a:ext cx="2754194" cy="181933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0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ea typeface="Kozuka Gothic Pro M" pitchFamily="34" charset="-128"/>
                <a:cs typeface="Times New Roman" panose="02020603050405020304" pitchFamily="18" charset="0"/>
              </a:rPr>
              <a:t>Μετεωρολογικά</a:t>
            </a:r>
            <a:r>
              <a:rPr lang="el-GR" sz="2000" b="1" dirty="0">
                <a:ln w="0">
                  <a:solidFill>
                    <a:schemeClr val="bg1"/>
                  </a:solidFill>
                </a:ln>
                <a:solidFill>
                  <a:schemeClr val="bg1"/>
                </a:solidFill>
                <a:latin typeface="Times New Roman" panose="02020603050405020304" pitchFamily="18" charset="0"/>
                <a:ea typeface="Kozuka Gothic Pro M" pitchFamily="34" charset="-128"/>
                <a:cs typeface="Times New Roman" panose="02020603050405020304" pitchFamily="18" charset="0"/>
              </a:rPr>
              <a:t> </a:t>
            </a:r>
            <a:r>
              <a:rPr lang="el-GR" sz="20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ea typeface="Kozuka Gothic Pro M" pitchFamily="34" charset="-128"/>
                <a:cs typeface="Times New Roman" panose="02020603050405020304" pitchFamily="18" charset="0"/>
              </a:rPr>
              <a:t>δεδομένα</a:t>
            </a:r>
            <a:endParaRPr lang="en-GB" sz="2000" b="1" dirty="0">
              <a:ln w="0">
                <a:solidFill>
                  <a:schemeClr val="bg1"/>
                </a:solidFill>
              </a:ln>
              <a:solidFill>
                <a:schemeClr val="bg1"/>
              </a:solidFill>
              <a:latin typeface="Times New Roman" panose="02020603050405020304" pitchFamily="18" charset="0"/>
              <a:ea typeface="Kozuka Gothic Pro M" pitchFamily="34" charset="-128"/>
              <a:cs typeface="Times New Roman" panose="02020603050405020304" pitchFamily="18" charset="0"/>
            </a:endParaRPr>
          </a:p>
        </p:txBody>
      </p:sp>
      <p:sp>
        <p:nvSpPr>
          <p:cNvPr id="21" name="Oval 47">
            <a:extLst>
              <a:ext uri="{FF2B5EF4-FFF2-40B4-BE49-F238E27FC236}">
                <a16:creationId xmlns:a16="http://schemas.microsoft.com/office/drawing/2014/main" id="{B984E05F-C40D-4BAD-8577-1504C77294A7}"/>
              </a:ext>
            </a:extLst>
          </p:cNvPr>
          <p:cNvSpPr/>
          <p:nvPr/>
        </p:nvSpPr>
        <p:spPr>
          <a:xfrm>
            <a:off x="5399206" y="381000"/>
            <a:ext cx="2754194" cy="181933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0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ea typeface="Kozuka Gothic Pro M" pitchFamily="34" charset="-128"/>
                <a:cs typeface="Times New Roman" panose="02020603050405020304" pitchFamily="18" charset="0"/>
              </a:rPr>
              <a:t>Δεδομένα</a:t>
            </a:r>
            <a:r>
              <a:rPr lang="el-GR" sz="2000" b="1" dirty="0">
                <a:ln w="0">
                  <a:solidFill>
                    <a:schemeClr val="bg1"/>
                  </a:solidFill>
                </a:ln>
                <a:solidFill>
                  <a:schemeClr val="bg1"/>
                </a:solidFill>
                <a:latin typeface="Times New Roman" panose="02020603050405020304" pitchFamily="18" charset="0"/>
                <a:ea typeface="Kozuka Gothic Pro M" pitchFamily="34" charset="-128"/>
                <a:cs typeface="Times New Roman" panose="02020603050405020304" pitchFamily="18" charset="0"/>
              </a:rPr>
              <a:t> </a:t>
            </a:r>
            <a:r>
              <a:rPr lang="el-GR" sz="20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ea typeface="Kozuka Gothic Pro M" pitchFamily="34" charset="-128"/>
                <a:cs typeface="Times New Roman" panose="02020603050405020304" pitchFamily="18" charset="0"/>
              </a:rPr>
              <a:t>τοπικής</a:t>
            </a:r>
            <a:r>
              <a:rPr lang="el-GR" sz="2000" b="1" dirty="0">
                <a:ln w="0">
                  <a:solidFill>
                    <a:schemeClr val="bg1"/>
                  </a:solidFill>
                </a:ln>
                <a:solidFill>
                  <a:schemeClr val="bg1"/>
                </a:solidFill>
                <a:latin typeface="Times New Roman" panose="02020603050405020304" pitchFamily="18" charset="0"/>
                <a:ea typeface="Kozuka Gothic Pro M" pitchFamily="34" charset="-128"/>
                <a:cs typeface="Times New Roman" panose="02020603050405020304" pitchFamily="18" charset="0"/>
              </a:rPr>
              <a:t> </a:t>
            </a:r>
            <a:r>
              <a:rPr lang="el-GR" sz="2000" b="1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ea typeface="Kozuka Gothic Pro M" pitchFamily="34" charset="-128"/>
                <a:cs typeface="Times New Roman" panose="02020603050405020304" pitchFamily="18" charset="0"/>
              </a:rPr>
              <a:t>παρατήρησης</a:t>
            </a:r>
            <a:endParaRPr lang="en-GB" sz="2000" b="1" dirty="0">
              <a:ln w="0">
                <a:solidFill>
                  <a:schemeClr val="bg1"/>
                </a:solidFill>
              </a:ln>
              <a:solidFill>
                <a:schemeClr val="bg1"/>
              </a:solidFill>
              <a:latin typeface="Times New Roman" panose="02020603050405020304" pitchFamily="18" charset="0"/>
              <a:ea typeface="Kozuka Gothic Pro M" pitchFamily="34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3154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DC8DD24-9450-4DCF-B993-F435A3D233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940" y="-76200"/>
            <a:ext cx="8484059" cy="685800"/>
          </a:xfrm>
        </p:spPr>
        <p:txBody>
          <a:bodyPr>
            <a:normAutofit/>
          </a:bodyPr>
          <a:lstStyle/>
          <a:p>
            <a:pPr fontAlgn="b"/>
            <a:r>
              <a:rPr lang="el-GR" sz="36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Όργανα μέτρησης μεταβλητών</a:t>
            </a:r>
            <a:endParaRPr lang="en-US" sz="3600" b="1" dirty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2946" name="Picture 2">
            <a:extLst>
              <a:ext uri="{FF2B5EF4-FFF2-40B4-BE49-F238E27FC236}">
                <a16:creationId xmlns:a16="http://schemas.microsoft.com/office/drawing/2014/main" id="{648F71C7-F530-4E9F-8A65-9D68472A08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698" t="29655" r="25662" b="22808"/>
          <a:stretch/>
        </p:blipFill>
        <p:spPr bwMode="auto">
          <a:xfrm>
            <a:off x="381000" y="720780"/>
            <a:ext cx="1752600" cy="2555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7E23D1E-28A0-4199-A68A-DAFAD8C7BF3D}"/>
              </a:ext>
            </a:extLst>
          </p:cNvPr>
          <p:cNvSpPr txBox="1"/>
          <p:nvPr/>
        </p:nvSpPr>
        <p:spPr>
          <a:xfrm>
            <a:off x="94906" y="3319046"/>
            <a:ext cx="24196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Θερμόμετρο</a:t>
            </a:r>
            <a:r>
              <a:rPr lang="en-GB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εντό</a:t>
            </a:r>
            <a:r>
              <a:rPr lang="el-G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ς</a:t>
            </a:r>
            <a:r>
              <a:rPr lang="en-GB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κλω</a:t>
            </a:r>
            <a:r>
              <a:rPr lang="en-GB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βού </a:t>
            </a:r>
            <a:endParaRPr lang="el-G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2947" name="Εικόνα 3">
            <a:extLst>
              <a:ext uri="{FF2B5EF4-FFF2-40B4-BE49-F238E27FC236}">
                <a16:creationId xmlns:a16="http://schemas.microsoft.com/office/drawing/2014/main" id="{F69B7DF1-A8D9-4558-ACDF-CC3069A92C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1000273"/>
            <a:ext cx="1081087" cy="207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948" name="Εικόνα 4">
            <a:extLst>
              <a:ext uri="{FF2B5EF4-FFF2-40B4-BE49-F238E27FC236}">
                <a16:creationId xmlns:a16="http://schemas.microsoft.com/office/drawing/2014/main" id="{534BCE65-B4A2-497D-9107-6D7F45928A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2148" y="1016053"/>
            <a:ext cx="1933575" cy="207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EA11F7B-49F1-46B0-8E0C-DA3D38F6BDA1}"/>
              </a:ext>
            </a:extLst>
          </p:cNvPr>
          <p:cNvSpPr txBox="1"/>
          <p:nvPr/>
        </p:nvSpPr>
        <p:spPr>
          <a:xfrm>
            <a:off x="3276600" y="3160243"/>
            <a:ext cx="2438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Υδρ</a:t>
            </a:r>
            <a:r>
              <a:rPr lang="en-GB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αργυρικά βαρόμετρα </a:t>
            </a:r>
            <a:endParaRPr lang="el-G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2950" name="Picture 6">
            <a:extLst>
              <a:ext uri="{FF2B5EF4-FFF2-40B4-BE49-F238E27FC236}">
                <a16:creationId xmlns:a16="http://schemas.microsoft.com/office/drawing/2014/main" id="{5B8E2D16-81BE-497F-A54D-F73B79CE4E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28" b="9836"/>
          <a:stretch/>
        </p:blipFill>
        <p:spPr bwMode="auto">
          <a:xfrm>
            <a:off x="6495435" y="612229"/>
            <a:ext cx="2333625" cy="2701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AC79E05-339B-4C2F-A774-936356AB8A0E}"/>
              </a:ext>
            </a:extLst>
          </p:cNvPr>
          <p:cNvSpPr txBox="1"/>
          <p:nvPr/>
        </p:nvSpPr>
        <p:spPr>
          <a:xfrm>
            <a:off x="6959300" y="3276600"/>
            <a:ext cx="14058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Β</a:t>
            </a:r>
            <a:r>
              <a:rPr lang="en-GB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α</a:t>
            </a:r>
            <a:r>
              <a:rPr lang="en-GB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ρογράφος</a:t>
            </a:r>
            <a:r>
              <a:rPr lang="en-GB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l-G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2951" name="Εικόνα 8">
            <a:extLst>
              <a:ext uri="{FF2B5EF4-FFF2-40B4-BE49-F238E27FC236}">
                <a16:creationId xmlns:a16="http://schemas.microsoft.com/office/drawing/2014/main" id="{4AF0478B-F86C-46B2-9264-1E5F7BC76E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1" t="29889" r="82351" b="30882"/>
          <a:stretch/>
        </p:blipFill>
        <p:spPr bwMode="auto">
          <a:xfrm>
            <a:off x="251146" y="3810000"/>
            <a:ext cx="1426495" cy="256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952" name="Εικόνα 9">
            <a:extLst>
              <a:ext uri="{FF2B5EF4-FFF2-40B4-BE49-F238E27FC236}">
                <a16:creationId xmlns:a16="http://schemas.microsoft.com/office/drawing/2014/main" id="{43B97EAF-81D9-4DCC-8AA4-7B77B47274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407" t="28255" r="6487" b="22943"/>
          <a:stretch/>
        </p:blipFill>
        <p:spPr bwMode="auto">
          <a:xfrm>
            <a:off x="1698946" y="3810000"/>
            <a:ext cx="2819400" cy="256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127D5ED-969B-4F0C-867E-C79692A72FDB}"/>
              </a:ext>
            </a:extLst>
          </p:cNvPr>
          <p:cNvSpPr txBox="1"/>
          <p:nvPr/>
        </p:nvSpPr>
        <p:spPr>
          <a:xfrm>
            <a:off x="228600" y="6437138"/>
            <a:ext cx="44383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Κ</a:t>
            </a:r>
            <a:r>
              <a:rPr lang="en-GB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απ</a:t>
            </a:r>
            <a:r>
              <a:rPr lang="en-GB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ελλοφόρο</a:t>
            </a:r>
            <a:r>
              <a:rPr lang="en-GB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α</a:t>
            </a:r>
            <a:r>
              <a:rPr lang="en-GB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νεμόμετρο</a:t>
            </a:r>
            <a:r>
              <a:rPr lang="el-G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ή</a:t>
            </a:r>
            <a:r>
              <a:rPr lang="en-GB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α</a:t>
            </a:r>
            <a:r>
              <a:rPr lang="en-GB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νεμόμετρο</a:t>
            </a:r>
            <a:r>
              <a:rPr lang="en-GB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έλικ</a:t>
            </a:r>
            <a:r>
              <a:rPr lang="en-GB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ας</a:t>
            </a:r>
            <a:endParaRPr lang="el-GR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2953" name="Picture 9">
            <a:extLst>
              <a:ext uri="{FF2B5EF4-FFF2-40B4-BE49-F238E27FC236}">
                <a16:creationId xmlns:a16="http://schemas.microsoft.com/office/drawing/2014/main" id="{F0BC57B3-241F-43E7-BBEB-437E8A61DA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1875" y="3810000"/>
            <a:ext cx="1482725" cy="277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5DB75F7-6E5D-4DBD-B2BF-BCE487570DB7}"/>
              </a:ext>
            </a:extLst>
          </p:cNvPr>
          <p:cNvSpPr txBox="1"/>
          <p:nvPr/>
        </p:nvSpPr>
        <p:spPr>
          <a:xfrm>
            <a:off x="6363421" y="6248400"/>
            <a:ext cx="2895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Αριστερά: Τυπικό βροχόμετρο, Πάνω: ηλεκτρονικό βροχόμετρο</a:t>
            </a:r>
          </a:p>
        </p:txBody>
      </p:sp>
      <p:pic>
        <p:nvPicPr>
          <p:cNvPr id="82954" name="Picture 10">
            <a:extLst>
              <a:ext uri="{FF2B5EF4-FFF2-40B4-BE49-F238E27FC236}">
                <a16:creationId xmlns:a16="http://schemas.microsoft.com/office/drawing/2014/main" id="{C9F745CD-8225-4A94-ABAF-EF04387117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01" t="8291" r="11420"/>
          <a:stretch/>
        </p:blipFill>
        <p:spPr bwMode="auto">
          <a:xfrm>
            <a:off x="6400800" y="3827899"/>
            <a:ext cx="2590800" cy="238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30088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3396</TotalTime>
  <Words>2172</Words>
  <Application>Microsoft Office PowerPoint</Application>
  <PresentationFormat>Προβολή στην οθόνη (4:3)</PresentationFormat>
  <Paragraphs>421</Paragraphs>
  <Slides>30</Slides>
  <Notes>27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10</vt:i4>
      </vt:variant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2</vt:i4>
      </vt:variant>
      <vt:variant>
        <vt:lpstr>Τίτλοι διαφανειών</vt:lpstr>
      </vt:variant>
      <vt:variant>
        <vt:i4>30</vt:i4>
      </vt:variant>
    </vt:vector>
  </HeadingPairs>
  <TitlesOfParts>
    <vt:vector size="43" baseType="lpstr">
      <vt:lpstr>ＭＳ Ｐゴシック</vt:lpstr>
      <vt:lpstr>Arial</vt:lpstr>
      <vt:lpstr>Arial Black</vt:lpstr>
      <vt:lpstr>Calibri</vt:lpstr>
      <vt:lpstr>Franklin Gothic Medium</vt:lpstr>
      <vt:lpstr>Impact</vt:lpstr>
      <vt:lpstr>Kozuka Gothic Pr6N B</vt:lpstr>
      <vt:lpstr>Kozuka Gothic Pro M</vt:lpstr>
      <vt:lpstr>Times New Roman</vt:lpstr>
      <vt:lpstr>Wingdings</vt:lpstr>
      <vt:lpstr>Office Theme</vt:lpstr>
      <vt:lpstr>think-cell Slide</vt:lpstr>
      <vt:lpstr>Εξίσωση</vt:lpstr>
      <vt:lpstr>ΕΘΝΙΚΟ ΜΕΤΣΟΒΙΟ ΠΟΛΥΤΕΧΝΕΙΟ ΣΧΟΛΗ ΠΟΛΙΤΙΚΩΝ ΜΗΧΑΝΙΚΩΝ ΤΟΜΕΑΣ ΥΔΑΤΙΚΩΝ ΠΟΡΩΝ &amp; ΠΕΡΙΒΑΛΛΟΝΤΟΣ</vt:lpstr>
      <vt:lpstr>Δομή παρουσίασης</vt:lpstr>
      <vt:lpstr>Βήματα εκπόνησης εργασίας</vt:lpstr>
      <vt:lpstr>Εμπόδια κατά την εκπόνηση</vt:lpstr>
      <vt:lpstr>Εισαγωγικά στοιχεία</vt:lpstr>
      <vt:lpstr>Εξεταζόμενες μετεωρολογικές μεταβλητές</vt:lpstr>
      <vt:lpstr>Παρουσίαση του PowerPoint</vt:lpstr>
      <vt:lpstr>Παρουσίαση του PowerPoint</vt:lpstr>
      <vt:lpstr>Όργανα μέτρησης μεταβλητών</vt:lpstr>
      <vt:lpstr>Μεθοδολογία</vt:lpstr>
      <vt:lpstr>Βήμα 1: Ενοποίηση μονάδων</vt:lpstr>
      <vt:lpstr>Βήμα 1: Έλεγχος και Τυποποίηση δεδομένων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Αποτελέσματα &amp; Συμπεράσματα (1)</vt:lpstr>
      <vt:lpstr>Αποτελέσματα &amp; Συμπεράσματα (2)</vt:lpstr>
      <vt:lpstr>Αποτελέσματα &amp; Συμπεράσματα (3)</vt:lpstr>
      <vt:lpstr>Αποτελέσματα &amp; Συμπεράσματα (3)</vt:lpstr>
      <vt:lpstr>Αποτελέσματα &amp; Συμπεράσματα (4)</vt:lpstr>
      <vt:lpstr>Αποτελέσματα &amp; Συμπεράσματα (5)</vt:lpstr>
      <vt:lpstr>Αποτελέσματα &amp; Συμπεράσματα (6)</vt:lpstr>
      <vt:lpstr>Αποτελέσματα &amp; Συμπεράσματα (7)</vt:lpstr>
      <vt:lpstr>Αποτελέσματα &amp; Συμπεράσματα (8)</vt:lpstr>
      <vt:lpstr>Αποτελέσματα &amp; Συμπεράσματα (9)</vt:lpstr>
      <vt:lpstr>Παρουσίαση του PowerPoint</vt:lpstr>
      <vt:lpstr>Παρουσίαση του PowerPoint</vt:lpstr>
      <vt:lpstr>Παρουσίαση του PowerPoint</vt:lpstr>
      <vt:lpstr>Σας ευχαριστώ πολύ για την προσοχή σας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blem Solving Template</dc:title>
  <dc:creator>Md Aminul Islam</dc:creator>
  <cp:lastModifiedBy>User</cp:lastModifiedBy>
  <cp:revision>289</cp:revision>
  <cp:lastPrinted>2017-10-28T14:44:45Z</cp:lastPrinted>
  <dcterms:created xsi:type="dcterms:W3CDTF">2013-04-21T21:10:16Z</dcterms:created>
  <dcterms:modified xsi:type="dcterms:W3CDTF">2017-11-06T20:36:40Z</dcterms:modified>
</cp:coreProperties>
</file>